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1"/>
  </p:notesMasterIdLst>
  <p:handoutMasterIdLst>
    <p:handoutMasterId r:id="rId22"/>
  </p:handoutMasterIdLst>
  <p:sldIdLst>
    <p:sldId id="256" r:id="rId2"/>
    <p:sldId id="258" r:id="rId3"/>
    <p:sldId id="268" r:id="rId4"/>
    <p:sldId id="300" r:id="rId5"/>
    <p:sldId id="277" r:id="rId6"/>
    <p:sldId id="270" r:id="rId7"/>
    <p:sldId id="293" r:id="rId8"/>
    <p:sldId id="297" r:id="rId9"/>
    <p:sldId id="276" r:id="rId10"/>
    <p:sldId id="275" r:id="rId11"/>
    <p:sldId id="285" r:id="rId12"/>
    <p:sldId id="284" r:id="rId13"/>
    <p:sldId id="286" r:id="rId14"/>
    <p:sldId id="287" r:id="rId15"/>
    <p:sldId id="262" r:id="rId16"/>
    <p:sldId id="290" r:id="rId17"/>
    <p:sldId id="289" r:id="rId18"/>
    <p:sldId id="295" r:id="rId19"/>
    <p:sldId id="299" r:id="rId2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Вводное" id="{C6679FA6-4F92-4890-B938-982B79E4034E}">
          <p14:sldIdLst>
            <p14:sldId id="256"/>
          </p14:sldIdLst>
        </p14:section>
        <p14:section name="Направления деятельности" id="{B5E9B67A-539F-403E-873A-F697AB39DE99}">
          <p14:sldIdLst>
            <p14:sldId id="258"/>
          </p14:sldIdLst>
        </p14:section>
        <p14:section name="Подслайды к направлениям деятельности" id="{8E1C0B3F-BAE8-476A-8ADB-49614588ACC4}">
          <p14:sldIdLst>
            <p14:sldId id="268"/>
            <p14:sldId id="300"/>
            <p14:sldId id="277"/>
            <p14:sldId id="270"/>
            <p14:sldId id="293"/>
            <p14:sldId id="297"/>
            <p14:sldId id="276"/>
          </p14:sldIdLst>
        </p14:section>
        <p14:section name="Опыт" id="{30C1C9CC-1903-496E-9BA7-EDA1E5733F40}">
          <p14:sldIdLst>
            <p14:sldId id="275"/>
            <p14:sldId id="285"/>
            <p14:sldId id="284"/>
            <p14:sldId id="286"/>
            <p14:sldId id="287"/>
            <p14:sldId id="262"/>
            <p14:sldId id="290"/>
            <p14:sldId id="289"/>
            <p14:sldId id="295"/>
            <p14:sldId id="2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лександр Шепилев" initials="АШ" lastIdx="9" clrIdx="0">
    <p:extLst>
      <p:ext uri="{19B8F6BF-5375-455C-9EA6-DF929625EA0E}">
        <p15:presenceInfo xmlns:p15="http://schemas.microsoft.com/office/powerpoint/2012/main" userId="S-1-5-21-763641115-1176819578-3525629690-1504" providerId="AD"/>
      </p:ext>
    </p:extLst>
  </p:cmAuthor>
  <p:cmAuthor id="2" name="Насирова Айсел Атамоглан кызы" initials="НААк" lastIdx="21" clrIdx="1">
    <p:extLst>
      <p:ext uri="{19B8F6BF-5375-455C-9EA6-DF929625EA0E}">
        <p15:presenceInfo xmlns:p15="http://schemas.microsoft.com/office/powerpoint/2012/main" userId="S-1-5-21-763641115-1176819578-3525629690-1336" providerId="AD"/>
      </p:ext>
    </p:extLst>
  </p:cmAuthor>
  <p:cmAuthor id="3" name="ng" initials="НА" lastIdx="6" clrIdx="2">
    <p:extLst>
      <p:ext uri="{19B8F6BF-5375-455C-9EA6-DF929625EA0E}">
        <p15:presenceInfo xmlns:p15="http://schemas.microsoft.com/office/powerpoint/2012/main" userId="ce8c3ae4287f476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0A0A0"/>
    <a:srgbClr val="225A9C"/>
    <a:srgbClr val="F6F9FD"/>
    <a:srgbClr val="C9DCF3"/>
    <a:srgbClr val="8EB6E6"/>
    <a:srgbClr val="72A4E0"/>
    <a:srgbClr val="E3EDF9"/>
    <a:srgbClr val="DEEBF7"/>
    <a:srgbClr val="C0C0C0"/>
    <a:srgbClr val="F4F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69" autoAdjust="0"/>
    <p:restoredTop sz="96984" autoAdjust="0"/>
  </p:normalViewPr>
  <p:slideViewPr>
    <p:cSldViewPr>
      <p:cViewPr varScale="1">
        <p:scale>
          <a:sx n="111" d="100"/>
          <a:sy n="111" d="100"/>
        </p:scale>
        <p:origin x="426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400" d="100"/>
        <a:sy n="4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8" d="100"/>
          <a:sy n="88" d="100"/>
        </p:scale>
        <p:origin x="275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02F765-B1C6-4516-9130-732790F6A009}" type="datetimeFigureOut">
              <a:rPr lang="ru-RU" smtClean="0"/>
              <a:t>16.01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7FAA0E-0411-4AEB-81EB-5C671563AE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29471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ABD95F-8A4F-4A12-B218-58D0BA0B0A08}" type="datetimeFigureOut">
              <a:rPr lang="ru-RU" smtClean="0"/>
              <a:t>16.01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DB20A6-AFDE-4571-B8A7-49DF076782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2764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B20A6-AFDE-4571-B8A7-49DF0767821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4259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B20A6-AFDE-4571-B8A7-49DF07678216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36903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B20A6-AFDE-4571-B8A7-49DF07678216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19913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B20A6-AFDE-4571-B8A7-49DF07678216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09652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B20A6-AFDE-4571-B8A7-49DF07678216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93602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959C73-7199-4822-9E73-05D840C4F155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5449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69384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 userDrawn="1"/>
        </p:nvSpPr>
        <p:spPr>
          <a:xfrm>
            <a:off x="4639" y="0"/>
            <a:ext cx="460176" cy="43204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4639" y="0"/>
            <a:ext cx="460176" cy="432048"/>
          </a:xfrm>
        </p:spPr>
        <p:txBody>
          <a:bodyPr/>
          <a:lstStyle>
            <a:lvl1pPr algn="ctr">
              <a:defRPr sz="1600" b="1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08217799-9F31-4B86-AAB5-4E5A709D2EC9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8616280" y="188640"/>
            <a:ext cx="834008" cy="72008"/>
            <a:chOff x="3863752" y="188640"/>
            <a:chExt cx="834008" cy="72008"/>
          </a:xfrm>
        </p:grpSpPr>
        <p:sp>
          <p:nvSpPr>
            <p:cNvPr id="13" name="Овал 12"/>
            <p:cNvSpPr/>
            <p:nvPr userDrawn="1"/>
          </p:nvSpPr>
          <p:spPr>
            <a:xfrm>
              <a:off x="3863752" y="188640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Овал 13"/>
            <p:cNvSpPr/>
            <p:nvPr userDrawn="1"/>
          </p:nvSpPr>
          <p:spPr>
            <a:xfrm>
              <a:off x="4016152" y="188640"/>
              <a:ext cx="72008" cy="72008"/>
            </a:xfrm>
            <a:prstGeom prst="ellipse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Овал 14"/>
            <p:cNvSpPr/>
            <p:nvPr userDrawn="1"/>
          </p:nvSpPr>
          <p:spPr>
            <a:xfrm>
              <a:off x="4168552" y="188640"/>
              <a:ext cx="72008" cy="72008"/>
            </a:xfrm>
            <a:prstGeom prst="ellipse">
              <a:avLst/>
            </a:prstGeom>
            <a:solidFill>
              <a:srgbClr val="72A4E0"/>
            </a:solidFill>
            <a:ln>
              <a:solidFill>
                <a:srgbClr val="72A4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Овал 15"/>
            <p:cNvSpPr/>
            <p:nvPr userDrawn="1"/>
          </p:nvSpPr>
          <p:spPr>
            <a:xfrm>
              <a:off x="4320952" y="188640"/>
              <a:ext cx="72008" cy="72008"/>
            </a:xfrm>
            <a:prstGeom prst="ellipse">
              <a:avLst/>
            </a:prstGeom>
            <a:solidFill>
              <a:srgbClr val="8EB6E6"/>
            </a:solidFill>
            <a:ln>
              <a:solidFill>
                <a:srgbClr val="8EB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Овал 16"/>
            <p:cNvSpPr/>
            <p:nvPr userDrawn="1"/>
          </p:nvSpPr>
          <p:spPr>
            <a:xfrm>
              <a:off x="4473352" y="188640"/>
              <a:ext cx="72008" cy="72008"/>
            </a:xfrm>
            <a:prstGeom prst="ellipse">
              <a:avLst/>
            </a:prstGeom>
            <a:solidFill>
              <a:srgbClr val="C9DCF3"/>
            </a:solidFill>
            <a:ln>
              <a:solidFill>
                <a:srgbClr val="C9DC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Овал 17"/>
            <p:cNvSpPr/>
            <p:nvPr userDrawn="1"/>
          </p:nvSpPr>
          <p:spPr>
            <a:xfrm>
              <a:off x="4625752" y="188640"/>
              <a:ext cx="72008" cy="72008"/>
            </a:xfrm>
            <a:prstGeom prst="ellipse">
              <a:avLst/>
            </a:prstGeom>
            <a:solidFill>
              <a:srgbClr val="DEEBF7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2" name="Прямоугольник 21"/>
          <p:cNvSpPr/>
          <p:nvPr userDrawn="1"/>
        </p:nvSpPr>
        <p:spPr>
          <a:xfrm rot="16200000">
            <a:off x="-251302" y="5842995"/>
            <a:ext cx="9720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ТиНОСиЭ</a:t>
            </a:r>
          </a:p>
        </p:txBody>
      </p:sp>
      <p:sp>
        <p:nvSpPr>
          <p:cNvPr id="25" name="Прямоугольник 24"/>
          <p:cNvSpPr/>
          <p:nvPr userDrawn="1"/>
        </p:nvSpPr>
        <p:spPr>
          <a:xfrm>
            <a:off x="120307" y="1974266"/>
            <a:ext cx="262265" cy="283546"/>
          </a:xfrm>
          <a:prstGeom prst="rect">
            <a:avLst/>
          </a:prstGeom>
          <a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22447"/>
              <a:satOff val="-1239"/>
              <a:lumOff val="4785"/>
              <a:alphaOff val="-1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Прямоугольник 25"/>
          <p:cNvSpPr/>
          <p:nvPr userDrawn="1"/>
        </p:nvSpPr>
        <p:spPr>
          <a:xfrm>
            <a:off x="131101" y="3027771"/>
            <a:ext cx="269530" cy="291400"/>
          </a:xfrm>
          <a:prstGeom prst="rect">
            <a:avLst/>
          </a:prstGeom>
          <a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52377"/>
              <a:satOff val="-2891"/>
              <a:lumOff val="11166"/>
              <a:alphaOff val="-4000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Прямоугольник 27"/>
          <p:cNvSpPr/>
          <p:nvPr userDrawn="1"/>
        </p:nvSpPr>
        <p:spPr>
          <a:xfrm>
            <a:off x="123036" y="1630712"/>
            <a:ext cx="240012" cy="259488"/>
          </a:xfrm>
          <a:prstGeom prst="rect">
            <a:avLst/>
          </a:prstGeom>
          <a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48636"/>
              <a:satOff val="-2685"/>
              <a:lumOff val="10368"/>
              <a:alphaOff val="-3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29" name="Рисунок 28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12486" y="3387108"/>
            <a:ext cx="298661" cy="284535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130" y="1231225"/>
            <a:ext cx="345921" cy="29697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72254" y="2354263"/>
            <a:ext cx="375300" cy="226396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89165" y="2669148"/>
            <a:ext cx="317886" cy="254308"/>
          </a:xfrm>
          <a:prstGeom prst="rect">
            <a:avLst/>
          </a:prstGeom>
        </p:spPr>
      </p:pic>
      <p:sp>
        <p:nvSpPr>
          <p:cNvPr id="24" name="Прямоугольник 23"/>
          <p:cNvSpPr/>
          <p:nvPr userDrawn="1"/>
        </p:nvSpPr>
        <p:spPr>
          <a:xfrm>
            <a:off x="464815" y="432048"/>
            <a:ext cx="11715031" cy="6425952"/>
          </a:xfrm>
          <a:prstGeom prst="rect">
            <a:avLst/>
          </a:prstGeom>
          <a:solidFill>
            <a:srgbClr val="ECF3FA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10272464" y="86144"/>
            <a:ext cx="7889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ИИСТ</a:t>
            </a:r>
          </a:p>
        </p:txBody>
      </p:sp>
    </p:spTree>
    <p:extLst>
      <p:ext uri="{BB962C8B-B14F-4D97-AF65-F5344CB8AC3E}">
        <p14:creationId xmlns:p14="http://schemas.microsoft.com/office/powerpoint/2010/main" val="762364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 userDrawn="1"/>
        </p:nvSpPr>
        <p:spPr>
          <a:xfrm>
            <a:off x="4639" y="0"/>
            <a:ext cx="460176" cy="43204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4639" y="0"/>
            <a:ext cx="460176" cy="432048"/>
          </a:xfrm>
        </p:spPr>
        <p:txBody>
          <a:bodyPr/>
          <a:lstStyle>
            <a:lvl1pPr algn="ctr">
              <a:defRPr sz="1600" b="1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08217799-9F31-4B86-AAB5-4E5A709D2EC9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8616280" y="188640"/>
            <a:ext cx="834008" cy="72008"/>
            <a:chOff x="3863752" y="188640"/>
            <a:chExt cx="834008" cy="72008"/>
          </a:xfrm>
        </p:grpSpPr>
        <p:sp>
          <p:nvSpPr>
            <p:cNvPr id="13" name="Овал 12"/>
            <p:cNvSpPr/>
            <p:nvPr userDrawn="1"/>
          </p:nvSpPr>
          <p:spPr>
            <a:xfrm>
              <a:off x="3863752" y="188640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Овал 13"/>
            <p:cNvSpPr/>
            <p:nvPr userDrawn="1"/>
          </p:nvSpPr>
          <p:spPr>
            <a:xfrm>
              <a:off x="4016152" y="188640"/>
              <a:ext cx="72008" cy="72008"/>
            </a:xfrm>
            <a:prstGeom prst="ellipse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Овал 14"/>
            <p:cNvSpPr/>
            <p:nvPr userDrawn="1"/>
          </p:nvSpPr>
          <p:spPr>
            <a:xfrm>
              <a:off x="4168552" y="188640"/>
              <a:ext cx="72008" cy="72008"/>
            </a:xfrm>
            <a:prstGeom prst="ellipse">
              <a:avLst/>
            </a:prstGeom>
            <a:solidFill>
              <a:srgbClr val="72A4E0"/>
            </a:solidFill>
            <a:ln>
              <a:solidFill>
                <a:srgbClr val="72A4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Овал 15"/>
            <p:cNvSpPr/>
            <p:nvPr userDrawn="1"/>
          </p:nvSpPr>
          <p:spPr>
            <a:xfrm>
              <a:off x="4320952" y="188640"/>
              <a:ext cx="72008" cy="72008"/>
            </a:xfrm>
            <a:prstGeom prst="ellipse">
              <a:avLst/>
            </a:prstGeom>
            <a:solidFill>
              <a:srgbClr val="8EB6E6"/>
            </a:solidFill>
            <a:ln>
              <a:solidFill>
                <a:srgbClr val="8EB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Овал 16"/>
            <p:cNvSpPr/>
            <p:nvPr userDrawn="1"/>
          </p:nvSpPr>
          <p:spPr>
            <a:xfrm>
              <a:off x="4473352" y="188640"/>
              <a:ext cx="72008" cy="72008"/>
            </a:xfrm>
            <a:prstGeom prst="ellipse">
              <a:avLst/>
            </a:prstGeom>
            <a:solidFill>
              <a:srgbClr val="C9DCF3"/>
            </a:solidFill>
            <a:ln>
              <a:solidFill>
                <a:srgbClr val="C9DC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Овал 17"/>
            <p:cNvSpPr/>
            <p:nvPr userDrawn="1"/>
          </p:nvSpPr>
          <p:spPr>
            <a:xfrm>
              <a:off x="4625752" y="188640"/>
              <a:ext cx="72008" cy="72008"/>
            </a:xfrm>
            <a:prstGeom prst="ellipse">
              <a:avLst/>
            </a:prstGeom>
            <a:solidFill>
              <a:srgbClr val="DEEBF7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5" name="Прямоугольник 24"/>
          <p:cNvSpPr/>
          <p:nvPr userDrawn="1"/>
        </p:nvSpPr>
        <p:spPr>
          <a:xfrm>
            <a:off x="120307" y="1974266"/>
            <a:ext cx="262265" cy="283546"/>
          </a:xfrm>
          <a:prstGeom prst="rect">
            <a:avLst/>
          </a:prstGeom>
          <a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22447"/>
              <a:satOff val="-1239"/>
              <a:lumOff val="4785"/>
              <a:alphaOff val="-1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Прямоугольник 27"/>
          <p:cNvSpPr/>
          <p:nvPr userDrawn="1"/>
        </p:nvSpPr>
        <p:spPr>
          <a:xfrm>
            <a:off x="123036" y="1630712"/>
            <a:ext cx="240012" cy="259488"/>
          </a:xfrm>
          <a:prstGeom prst="rect">
            <a:avLst/>
          </a:prstGeom>
          <a:blipFill>
            <a:blip r:embed="rId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48636"/>
              <a:satOff val="-2685"/>
              <a:lumOff val="10368"/>
              <a:alphaOff val="-3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1" name="Рисунок 30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72254" y="2354263"/>
            <a:ext cx="375300" cy="226396"/>
          </a:xfrm>
          <a:prstGeom prst="rect">
            <a:avLst/>
          </a:prstGeom>
        </p:spPr>
      </p:pic>
      <p:sp>
        <p:nvSpPr>
          <p:cNvPr id="24" name="Прямоугольник 23"/>
          <p:cNvSpPr/>
          <p:nvPr userDrawn="1"/>
        </p:nvSpPr>
        <p:spPr>
          <a:xfrm>
            <a:off x="464815" y="432048"/>
            <a:ext cx="11715031" cy="6425952"/>
          </a:xfrm>
          <a:prstGeom prst="rect">
            <a:avLst/>
          </a:prstGeom>
          <a:solidFill>
            <a:srgbClr val="ECF3FA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10272464" y="86144"/>
            <a:ext cx="7889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ИИСТ</a:t>
            </a:r>
          </a:p>
        </p:txBody>
      </p:sp>
      <p:sp>
        <p:nvSpPr>
          <p:cNvPr id="27" name="Прямоугольник 26"/>
          <p:cNvSpPr/>
          <p:nvPr userDrawn="1"/>
        </p:nvSpPr>
        <p:spPr>
          <a:xfrm>
            <a:off x="131101" y="3027771"/>
            <a:ext cx="269530" cy="291400"/>
          </a:xfrm>
          <a:prstGeom prst="rect">
            <a:avLst/>
          </a:prstGeom>
          <a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52377"/>
              <a:satOff val="-2891"/>
              <a:lumOff val="11166"/>
              <a:alphaOff val="-4000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3" name="Рисунок 32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12486" y="3387108"/>
            <a:ext cx="298661" cy="284535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89165" y="2669148"/>
            <a:ext cx="317886" cy="254308"/>
          </a:xfrm>
          <a:prstGeom prst="rect">
            <a:avLst/>
          </a:prstGeom>
        </p:spPr>
      </p:pic>
      <p:sp>
        <p:nvSpPr>
          <p:cNvPr id="26" name="Прямоугольник 25"/>
          <p:cNvSpPr/>
          <p:nvPr userDrawn="1"/>
        </p:nvSpPr>
        <p:spPr>
          <a:xfrm rot="16200000">
            <a:off x="-251302" y="5842995"/>
            <a:ext cx="9720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ТиНОСиЭ</a:t>
            </a:r>
          </a:p>
        </p:txBody>
      </p:sp>
    </p:spTree>
    <p:extLst>
      <p:ext uri="{BB962C8B-B14F-4D97-AF65-F5344CB8AC3E}">
        <p14:creationId xmlns:p14="http://schemas.microsoft.com/office/powerpoint/2010/main" val="3644932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 userDrawn="1"/>
        </p:nvSpPr>
        <p:spPr>
          <a:xfrm>
            <a:off x="4639" y="0"/>
            <a:ext cx="460176" cy="43204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4639" y="0"/>
            <a:ext cx="460176" cy="432048"/>
          </a:xfrm>
        </p:spPr>
        <p:txBody>
          <a:bodyPr/>
          <a:lstStyle>
            <a:lvl1pPr algn="ctr">
              <a:defRPr sz="1600" b="1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08217799-9F31-4B86-AAB5-4E5A709D2EC9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8616280" y="188640"/>
            <a:ext cx="834008" cy="72008"/>
            <a:chOff x="3863752" y="188640"/>
            <a:chExt cx="834008" cy="72008"/>
          </a:xfrm>
        </p:grpSpPr>
        <p:sp>
          <p:nvSpPr>
            <p:cNvPr id="13" name="Овал 12"/>
            <p:cNvSpPr/>
            <p:nvPr userDrawn="1"/>
          </p:nvSpPr>
          <p:spPr>
            <a:xfrm>
              <a:off x="3863752" y="188640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Овал 13"/>
            <p:cNvSpPr/>
            <p:nvPr userDrawn="1"/>
          </p:nvSpPr>
          <p:spPr>
            <a:xfrm>
              <a:off x="4016152" y="188640"/>
              <a:ext cx="72008" cy="72008"/>
            </a:xfrm>
            <a:prstGeom prst="ellipse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Овал 14"/>
            <p:cNvSpPr/>
            <p:nvPr userDrawn="1"/>
          </p:nvSpPr>
          <p:spPr>
            <a:xfrm>
              <a:off x="4168552" y="188640"/>
              <a:ext cx="72008" cy="72008"/>
            </a:xfrm>
            <a:prstGeom prst="ellipse">
              <a:avLst/>
            </a:prstGeom>
            <a:solidFill>
              <a:srgbClr val="72A4E0"/>
            </a:solidFill>
            <a:ln>
              <a:solidFill>
                <a:srgbClr val="72A4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Овал 15"/>
            <p:cNvSpPr/>
            <p:nvPr userDrawn="1"/>
          </p:nvSpPr>
          <p:spPr>
            <a:xfrm>
              <a:off x="4320952" y="188640"/>
              <a:ext cx="72008" cy="72008"/>
            </a:xfrm>
            <a:prstGeom prst="ellipse">
              <a:avLst/>
            </a:prstGeom>
            <a:solidFill>
              <a:srgbClr val="8EB6E6"/>
            </a:solidFill>
            <a:ln>
              <a:solidFill>
                <a:srgbClr val="8EB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Овал 16"/>
            <p:cNvSpPr/>
            <p:nvPr userDrawn="1"/>
          </p:nvSpPr>
          <p:spPr>
            <a:xfrm>
              <a:off x="4473352" y="188640"/>
              <a:ext cx="72008" cy="72008"/>
            </a:xfrm>
            <a:prstGeom prst="ellipse">
              <a:avLst/>
            </a:prstGeom>
            <a:solidFill>
              <a:srgbClr val="C9DCF3"/>
            </a:solidFill>
            <a:ln>
              <a:solidFill>
                <a:srgbClr val="C9DC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Овал 17"/>
            <p:cNvSpPr/>
            <p:nvPr userDrawn="1"/>
          </p:nvSpPr>
          <p:spPr>
            <a:xfrm>
              <a:off x="4625752" y="188640"/>
              <a:ext cx="72008" cy="72008"/>
            </a:xfrm>
            <a:prstGeom prst="ellipse">
              <a:avLst/>
            </a:prstGeom>
            <a:solidFill>
              <a:srgbClr val="DEEBF7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5" name="Прямоугольник 24"/>
          <p:cNvSpPr/>
          <p:nvPr userDrawn="1"/>
        </p:nvSpPr>
        <p:spPr>
          <a:xfrm>
            <a:off x="120307" y="1974266"/>
            <a:ext cx="262265" cy="283546"/>
          </a:xfrm>
          <a:prstGeom prst="rect">
            <a:avLst/>
          </a:prstGeom>
          <a:blipFill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22447"/>
              <a:satOff val="-1239"/>
              <a:lumOff val="4785"/>
              <a:alphaOff val="-1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Прямоугольник 27"/>
          <p:cNvSpPr/>
          <p:nvPr userDrawn="1"/>
        </p:nvSpPr>
        <p:spPr>
          <a:xfrm>
            <a:off x="123036" y="1630712"/>
            <a:ext cx="240012" cy="259488"/>
          </a:xfrm>
          <a:prstGeom prst="rect">
            <a:avLst/>
          </a:prstGeom>
          <a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48636"/>
              <a:satOff val="-2685"/>
              <a:lumOff val="10368"/>
              <a:alphaOff val="-3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1" name="Рисунок 30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72254" y="2354263"/>
            <a:ext cx="375300" cy="226396"/>
          </a:xfrm>
          <a:prstGeom prst="rect">
            <a:avLst/>
          </a:prstGeom>
        </p:spPr>
      </p:pic>
      <p:sp>
        <p:nvSpPr>
          <p:cNvPr id="24" name="Прямоугольник 23"/>
          <p:cNvSpPr/>
          <p:nvPr userDrawn="1"/>
        </p:nvSpPr>
        <p:spPr>
          <a:xfrm>
            <a:off x="464815" y="432048"/>
            <a:ext cx="11715031" cy="6425952"/>
          </a:xfrm>
          <a:prstGeom prst="rect">
            <a:avLst/>
          </a:prstGeom>
          <a:solidFill>
            <a:srgbClr val="ECF3FA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10272464" y="86144"/>
            <a:ext cx="7889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ИИСТ</a:t>
            </a:r>
          </a:p>
        </p:txBody>
      </p:sp>
      <p:sp>
        <p:nvSpPr>
          <p:cNvPr id="27" name="Прямоугольник 26"/>
          <p:cNvSpPr/>
          <p:nvPr userDrawn="1"/>
        </p:nvSpPr>
        <p:spPr>
          <a:xfrm>
            <a:off x="131101" y="3027771"/>
            <a:ext cx="269530" cy="291400"/>
          </a:xfrm>
          <a:prstGeom prst="rect">
            <a:avLst/>
          </a:prstGeom>
          <a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52377"/>
              <a:satOff val="-2891"/>
              <a:lumOff val="11166"/>
              <a:alphaOff val="-4000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3" name="Рисунок 32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12486" y="3387108"/>
            <a:ext cx="298661" cy="284535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89165" y="2669148"/>
            <a:ext cx="317886" cy="254308"/>
          </a:xfrm>
          <a:prstGeom prst="rect">
            <a:avLst/>
          </a:prstGeom>
        </p:spPr>
      </p:pic>
      <p:sp>
        <p:nvSpPr>
          <p:cNvPr id="26" name="Прямоугольник 25"/>
          <p:cNvSpPr/>
          <p:nvPr userDrawn="1"/>
        </p:nvSpPr>
        <p:spPr>
          <a:xfrm rot="16200000">
            <a:off x="-251302" y="5842995"/>
            <a:ext cx="9720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ТиНОСиЭ</a:t>
            </a:r>
          </a:p>
        </p:txBody>
      </p:sp>
    </p:spTree>
    <p:extLst>
      <p:ext uri="{BB962C8B-B14F-4D97-AF65-F5344CB8AC3E}">
        <p14:creationId xmlns:p14="http://schemas.microsoft.com/office/powerpoint/2010/main" val="1027785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 userDrawn="1"/>
        </p:nvSpPr>
        <p:spPr>
          <a:xfrm>
            <a:off x="4639" y="0"/>
            <a:ext cx="460176" cy="43204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4639" y="0"/>
            <a:ext cx="460176" cy="432048"/>
          </a:xfrm>
        </p:spPr>
        <p:txBody>
          <a:bodyPr/>
          <a:lstStyle>
            <a:lvl1pPr algn="ctr">
              <a:defRPr sz="1600" b="1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08217799-9F31-4B86-AAB5-4E5A709D2EC9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8616280" y="188640"/>
            <a:ext cx="834008" cy="72008"/>
            <a:chOff x="3863752" y="188640"/>
            <a:chExt cx="834008" cy="72008"/>
          </a:xfrm>
        </p:grpSpPr>
        <p:sp>
          <p:nvSpPr>
            <p:cNvPr id="13" name="Овал 12"/>
            <p:cNvSpPr/>
            <p:nvPr userDrawn="1"/>
          </p:nvSpPr>
          <p:spPr>
            <a:xfrm>
              <a:off x="3863752" y="188640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Овал 13"/>
            <p:cNvSpPr/>
            <p:nvPr userDrawn="1"/>
          </p:nvSpPr>
          <p:spPr>
            <a:xfrm>
              <a:off x="4016152" y="188640"/>
              <a:ext cx="72008" cy="72008"/>
            </a:xfrm>
            <a:prstGeom prst="ellipse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Овал 14"/>
            <p:cNvSpPr/>
            <p:nvPr userDrawn="1"/>
          </p:nvSpPr>
          <p:spPr>
            <a:xfrm>
              <a:off x="4168552" y="188640"/>
              <a:ext cx="72008" cy="72008"/>
            </a:xfrm>
            <a:prstGeom prst="ellipse">
              <a:avLst/>
            </a:prstGeom>
            <a:solidFill>
              <a:srgbClr val="72A4E0"/>
            </a:solidFill>
            <a:ln>
              <a:solidFill>
                <a:srgbClr val="72A4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Овал 15"/>
            <p:cNvSpPr/>
            <p:nvPr userDrawn="1"/>
          </p:nvSpPr>
          <p:spPr>
            <a:xfrm>
              <a:off x="4320952" y="188640"/>
              <a:ext cx="72008" cy="72008"/>
            </a:xfrm>
            <a:prstGeom prst="ellipse">
              <a:avLst/>
            </a:prstGeom>
            <a:solidFill>
              <a:srgbClr val="8EB6E6"/>
            </a:solidFill>
            <a:ln>
              <a:solidFill>
                <a:srgbClr val="8EB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Овал 16"/>
            <p:cNvSpPr/>
            <p:nvPr userDrawn="1"/>
          </p:nvSpPr>
          <p:spPr>
            <a:xfrm>
              <a:off x="4473352" y="188640"/>
              <a:ext cx="72008" cy="72008"/>
            </a:xfrm>
            <a:prstGeom prst="ellipse">
              <a:avLst/>
            </a:prstGeom>
            <a:solidFill>
              <a:srgbClr val="C9DCF3"/>
            </a:solidFill>
            <a:ln>
              <a:solidFill>
                <a:srgbClr val="C9DC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Овал 17"/>
            <p:cNvSpPr/>
            <p:nvPr userDrawn="1"/>
          </p:nvSpPr>
          <p:spPr>
            <a:xfrm>
              <a:off x="4625752" y="188640"/>
              <a:ext cx="72008" cy="72008"/>
            </a:xfrm>
            <a:prstGeom prst="ellipse">
              <a:avLst/>
            </a:prstGeom>
            <a:solidFill>
              <a:srgbClr val="DEEBF7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5" name="Прямоугольник 24"/>
          <p:cNvSpPr/>
          <p:nvPr userDrawn="1"/>
        </p:nvSpPr>
        <p:spPr>
          <a:xfrm>
            <a:off x="120307" y="1974266"/>
            <a:ext cx="262265" cy="283546"/>
          </a:xfrm>
          <a:prstGeom prst="rect">
            <a:avLst/>
          </a:prstGeom>
          <a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22447"/>
              <a:satOff val="-1239"/>
              <a:lumOff val="4785"/>
              <a:alphaOff val="-1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Прямоугольник 27"/>
          <p:cNvSpPr/>
          <p:nvPr userDrawn="1"/>
        </p:nvSpPr>
        <p:spPr>
          <a:xfrm>
            <a:off x="123036" y="1630712"/>
            <a:ext cx="240012" cy="259488"/>
          </a:xfrm>
          <a:prstGeom prst="rect">
            <a:avLst/>
          </a:prstGeom>
          <a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48636"/>
              <a:satOff val="-2685"/>
              <a:lumOff val="10368"/>
              <a:alphaOff val="-3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1" name="Рисунок 30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2254" y="2354263"/>
            <a:ext cx="375300" cy="226396"/>
          </a:xfrm>
          <a:prstGeom prst="rect">
            <a:avLst/>
          </a:prstGeom>
        </p:spPr>
      </p:pic>
      <p:sp>
        <p:nvSpPr>
          <p:cNvPr id="24" name="Прямоугольник 23"/>
          <p:cNvSpPr/>
          <p:nvPr userDrawn="1"/>
        </p:nvSpPr>
        <p:spPr>
          <a:xfrm>
            <a:off x="464815" y="432048"/>
            <a:ext cx="11715031" cy="6425952"/>
          </a:xfrm>
          <a:prstGeom prst="rect">
            <a:avLst/>
          </a:prstGeom>
          <a:solidFill>
            <a:srgbClr val="ECF3FA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10272464" y="86144"/>
            <a:ext cx="7889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ИИСТ</a:t>
            </a:r>
          </a:p>
        </p:txBody>
      </p:sp>
      <p:sp>
        <p:nvSpPr>
          <p:cNvPr id="27" name="Прямоугольник 26"/>
          <p:cNvSpPr/>
          <p:nvPr userDrawn="1"/>
        </p:nvSpPr>
        <p:spPr>
          <a:xfrm>
            <a:off x="131101" y="3027771"/>
            <a:ext cx="269530" cy="291400"/>
          </a:xfrm>
          <a:prstGeom prst="rect">
            <a:avLst/>
          </a:prstGeom>
          <a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52377"/>
              <a:satOff val="-2891"/>
              <a:lumOff val="11166"/>
              <a:alphaOff val="-4000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3" name="Рисунок 32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12486" y="3387108"/>
            <a:ext cx="298661" cy="284535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89165" y="2669148"/>
            <a:ext cx="317886" cy="254308"/>
          </a:xfrm>
          <a:prstGeom prst="rect">
            <a:avLst/>
          </a:prstGeom>
        </p:spPr>
      </p:pic>
      <p:sp>
        <p:nvSpPr>
          <p:cNvPr id="26" name="Прямоугольник 25"/>
          <p:cNvSpPr/>
          <p:nvPr userDrawn="1"/>
        </p:nvSpPr>
        <p:spPr>
          <a:xfrm rot="16200000">
            <a:off x="-251302" y="5842995"/>
            <a:ext cx="9720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ТиНОСиЭ</a:t>
            </a:r>
          </a:p>
        </p:txBody>
      </p:sp>
    </p:spTree>
    <p:extLst>
      <p:ext uri="{BB962C8B-B14F-4D97-AF65-F5344CB8AC3E}">
        <p14:creationId xmlns:p14="http://schemas.microsoft.com/office/powerpoint/2010/main" val="759078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 userDrawn="1"/>
        </p:nvSpPr>
        <p:spPr>
          <a:xfrm>
            <a:off x="4639" y="0"/>
            <a:ext cx="460176" cy="43204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4639" y="0"/>
            <a:ext cx="460176" cy="432048"/>
          </a:xfrm>
        </p:spPr>
        <p:txBody>
          <a:bodyPr/>
          <a:lstStyle>
            <a:lvl1pPr algn="ctr">
              <a:defRPr sz="1600" b="1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08217799-9F31-4B86-AAB5-4E5A709D2EC9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8616280" y="188640"/>
            <a:ext cx="834008" cy="72008"/>
            <a:chOff x="3863752" y="188640"/>
            <a:chExt cx="834008" cy="72008"/>
          </a:xfrm>
        </p:grpSpPr>
        <p:sp>
          <p:nvSpPr>
            <p:cNvPr id="13" name="Овал 12"/>
            <p:cNvSpPr/>
            <p:nvPr userDrawn="1"/>
          </p:nvSpPr>
          <p:spPr>
            <a:xfrm>
              <a:off x="3863752" y="188640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Овал 13"/>
            <p:cNvSpPr/>
            <p:nvPr userDrawn="1"/>
          </p:nvSpPr>
          <p:spPr>
            <a:xfrm>
              <a:off x="4016152" y="188640"/>
              <a:ext cx="72008" cy="72008"/>
            </a:xfrm>
            <a:prstGeom prst="ellipse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Овал 14"/>
            <p:cNvSpPr/>
            <p:nvPr userDrawn="1"/>
          </p:nvSpPr>
          <p:spPr>
            <a:xfrm>
              <a:off x="4168552" y="188640"/>
              <a:ext cx="72008" cy="72008"/>
            </a:xfrm>
            <a:prstGeom prst="ellipse">
              <a:avLst/>
            </a:prstGeom>
            <a:solidFill>
              <a:srgbClr val="72A4E0"/>
            </a:solidFill>
            <a:ln>
              <a:solidFill>
                <a:srgbClr val="72A4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Овал 15"/>
            <p:cNvSpPr/>
            <p:nvPr userDrawn="1"/>
          </p:nvSpPr>
          <p:spPr>
            <a:xfrm>
              <a:off x="4320952" y="188640"/>
              <a:ext cx="72008" cy="72008"/>
            </a:xfrm>
            <a:prstGeom prst="ellipse">
              <a:avLst/>
            </a:prstGeom>
            <a:solidFill>
              <a:srgbClr val="8EB6E6"/>
            </a:solidFill>
            <a:ln>
              <a:solidFill>
                <a:srgbClr val="8EB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Овал 16"/>
            <p:cNvSpPr/>
            <p:nvPr userDrawn="1"/>
          </p:nvSpPr>
          <p:spPr>
            <a:xfrm>
              <a:off x="4473352" y="188640"/>
              <a:ext cx="72008" cy="72008"/>
            </a:xfrm>
            <a:prstGeom prst="ellipse">
              <a:avLst/>
            </a:prstGeom>
            <a:solidFill>
              <a:srgbClr val="C9DCF3"/>
            </a:solidFill>
            <a:ln>
              <a:solidFill>
                <a:srgbClr val="C9DC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Овал 17"/>
            <p:cNvSpPr/>
            <p:nvPr userDrawn="1"/>
          </p:nvSpPr>
          <p:spPr>
            <a:xfrm>
              <a:off x="4625752" y="188640"/>
              <a:ext cx="72008" cy="72008"/>
            </a:xfrm>
            <a:prstGeom prst="ellipse">
              <a:avLst/>
            </a:prstGeom>
            <a:solidFill>
              <a:srgbClr val="DEEBF7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5" name="Прямоугольник 24"/>
          <p:cNvSpPr/>
          <p:nvPr userDrawn="1"/>
        </p:nvSpPr>
        <p:spPr>
          <a:xfrm>
            <a:off x="120307" y="1974266"/>
            <a:ext cx="262265" cy="283546"/>
          </a:xfrm>
          <a:prstGeom prst="rect">
            <a:avLst/>
          </a:prstGeom>
          <a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22447"/>
              <a:satOff val="-1239"/>
              <a:lumOff val="4785"/>
              <a:alphaOff val="-1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Прямоугольник 27"/>
          <p:cNvSpPr/>
          <p:nvPr userDrawn="1"/>
        </p:nvSpPr>
        <p:spPr>
          <a:xfrm>
            <a:off x="123036" y="1630712"/>
            <a:ext cx="240012" cy="259488"/>
          </a:xfrm>
          <a:prstGeom prst="rect">
            <a:avLst/>
          </a:prstGeom>
          <a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48636"/>
              <a:satOff val="-2685"/>
              <a:lumOff val="10368"/>
              <a:alphaOff val="-3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1" name="Рисунок 30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72254" y="2354263"/>
            <a:ext cx="375300" cy="226396"/>
          </a:xfrm>
          <a:prstGeom prst="rect">
            <a:avLst/>
          </a:prstGeom>
        </p:spPr>
      </p:pic>
      <p:sp>
        <p:nvSpPr>
          <p:cNvPr id="24" name="Прямоугольник 23"/>
          <p:cNvSpPr/>
          <p:nvPr userDrawn="1"/>
        </p:nvSpPr>
        <p:spPr>
          <a:xfrm>
            <a:off x="464815" y="432048"/>
            <a:ext cx="11715031" cy="6425952"/>
          </a:xfrm>
          <a:prstGeom prst="rect">
            <a:avLst/>
          </a:prstGeom>
          <a:solidFill>
            <a:srgbClr val="ECF3FA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10272464" y="86144"/>
            <a:ext cx="7889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ИИСТ</a:t>
            </a:r>
          </a:p>
        </p:txBody>
      </p:sp>
      <p:sp>
        <p:nvSpPr>
          <p:cNvPr id="35" name="Прямоугольник 34"/>
          <p:cNvSpPr/>
          <p:nvPr userDrawn="1"/>
        </p:nvSpPr>
        <p:spPr>
          <a:xfrm>
            <a:off x="131101" y="3027771"/>
            <a:ext cx="269530" cy="291400"/>
          </a:xfrm>
          <a:prstGeom prst="rect">
            <a:avLst/>
          </a:prstGeom>
          <a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52377"/>
              <a:satOff val="-2891"/>
              <a:lumOff val="11166"/>
              <a:alphaOff val="-4000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6" name="Рисунок 35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2486" y="3387108"/>
            <a:ext cx="298661" cy="284535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89165" y="2669148"/>
            <a:ext cx="317886" cy="254308"/>
          </a:xfrm>
          <a:prstGeom prst="rect">
            <a:avLst/>
          </a:prstGeom>
        </p:spPr>
      </p:pic>
      <p:sp>
        <p:nvSpPr>
          <p:cNvPr id="26" name="Прямоугольник 25"/>
          <p:cNvSpPr/>
          <p:nvPr userDrawn="1"/>
        </p:nvSpPr>
        <p:spPr>
          <a:xfrm rot="16200000">
            <a:off x="-251302" y="5842995"/>
            <a:ext cx="9720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ТиНОСиЭ</a:t>
            </a:r>
          </a:p>
        </p:txBody>
      </p:sp>
    </p:spTree>
    <p:extLst>
      <p:ext uri="{BB962C8B-B14F-4D97-AF65-F5344CB8AC3E}">
        <p14:creationId xmlns:p14="http://schemas.microsoft.com/office/powerpoint/2010/main" val="83696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 userDrawn="1"/>
        </p:nvSpPr>
        <p:spPr>
          <a:xfrm>
            <a:off x="4639" y="0"/>
            <a:ext cx="460176" cy="43204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4639" y="0"/>
            <a:ext cx="460176" cy="432048"/>
          </a:xfrm>
        </p:spPr>
        <p:txBody>
          <a:bodyPr/>
          <a:lstStyle>
            <a:lvl1pPr algn="ctr">
              <a:defRPr sz="1600" b="1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08217799-9F31-4B86-AAB5-4E5A709D2EC9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8616280" y="188640"/>
            <a:ext cx="834008" cy="72008"/>
            <a:chOff x="3863752" y="188640"/>
            <a:chExt cx="834008" cy="72008"/>
          </a:xfrm>
        </p:grpSpPr>
        <p:sp>
          <p:nvSpPr>
            <p:cNvPr id="13" name="Овал 12"/>
            <p:cNvSpPr/>
            <p:nvPr userDrawn="1"/>
          </p:nvSpPr>
          <p:spPr>
            <a:xfrm>
              <a:off x="3863752" y="188640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Овал 13"/>
            <p:cNvSpPr/>
            <p:nvPr userDrawn="1"/>
          </p:nvSpPr>
          <p:spPr>
            <a:xfrm>
              <a:off x="4016152" y="188640"/>
              <a:ext cx="72008" cy="72008"/>
            </a:xfrm>
            <a:prstGeom prst="ellipse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Овал 14"/>
            <p:cNvSpPr/>
            <p:nvPr userDrawn="1"/>
          </p:nvSpPr>
          <p:spPr>
            <a:xfrm>
              <a:off x="4168552" y="188640"/>
              <a:ext cx="72008" cy="72008"/>
            </a:xfrm>
            <a:prstGeom prst="ellipse">
              <a:avLst/>
            </a:prstGeom>
            <a:solidFill>
              <a:srgbClr val="72A4E0"/>
            </a:solidFill>
            <a:ln>
              <a:solidFill>
                <a:srgbClr val="72A4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Овал 15"/>
            <p:cNvSpPr/>
            <p:nvPr userDrawn="1"/>
          </p:nvSpPr>
          <p:spPr>
            <a:xfrm>
              <a:off x="4320952" y="188640"/>
              <a:ext cx="72008" cy="72008"/>
            </a:xfrm>
            <a:prstGeom prst="ellipse">
              <a:avLst/>
            </a:prstGeom>
            <a:solidFill>
              <a:srgbClr val="8EB6E6"/>
            </a:solidFill>
            <a:ln>
              <a:solidFill>
                <a:srgbClr val="8EB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Овал 16"/>
            <p:cNvSpPr/>
            <p:nvPr userDrawn="1"/>
          </p:nvSpPr>
          <p:spPr>
            <a:xfrm>
              <a:off x="4473352" y="188640"/>
              <a:ext cx="72008" cy="72008"/>
            </a:xfrm>
            <a:prstGeom prst="ellipse">
              <a:avLst/>
            </a:prstGeom>
            <a:solidFill>
              <a:srgbClr val="C9DCF3"/>
            </a:solidFill>
            <a:ln>
              <a:solidFill>
                <a:srgbClr val="C9DC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Овал 17"/>
            <p:cNvSpPr/>
            <p:nvPr userDrawn="1"/>
          </p:nvSpPr>
          <p:spPr>
            <a:xfrm>
              <a:off x="4625752" y="188640"/>
              <a:ext cx="72008" cy="72008"/>
            </a:xfrm>
            <a:prstGeom prst="ellipse">
              <a:avLst/>
            </a:prstGeom>
            <a:solidFill>
              <a:srgbClr val="DEEBF7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5" name="Прямоугольник 24"/>
          <p:cNvSpPr/>
          <p:nvPr userDrawn="1"/>
        </p:nvSpPr>
        <p:spPr>
          <a:xfrm>
            <a:off x="120307" y="1974266"/>
            <a:ext cx="262265" cy="283546"/>
          </a:xfrm>
          <a:prstGeom prst="rect">
            <a:avLst/>
          </a:prstGeom>
          <a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22447"/>
              <a:satOff val="-1239"/>
              <a:lumOff val="4785"/>
              <a:alphaOff val="-1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Прямоугольник 27"/>
          <p:cNvSpPr/>
          <p:nvPr userDrawn="1"/>
        </p:nvSpPr>
        <p:spPr>
          <a:xfrm>
            <a:off x="123036" y="1630712"/>
            <a:ext cx="240012" cy="259488"/>
          </a:xfrm>
          <a:prstGeom prst="rect">
            <a:avLst/>
          </a:prstGeom>
          <a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48636"/>
              <a:satOff val="-2685"/>
              <a:lumOff val="10368"/>
              <a:alphaOff val="-3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1" name="Рисунок 30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72254" y="2354263"/>
            <a:ext cx="375300" cy="226396"/>
          </a:xfrm>
          <a:prstGeom prst="rect">
            <a:avLst/>
          </a:prstGeom>
        </p:spPr>
      </p:pic>
      <p:sp>
        <p:nvSpPr>
          <p:cNvPr id="24" name="Прямоугольник 23"/>
          <p:cNvSpPr/>
          <p:nvPr userDrawn="1"/>
        </p:nvSpPr>
        <p:spPr>
          <a:xfrm>
            <a:off x="464815" y="432048"/>
            <a:ext cx="11715031" cy="6425952"/>
          </a:xfrm>
          <a:prstGeom prst="rect">
            <a:avLst/>
          </a:prstGeom>
          <a:solidFill>
            <a:srgbClr val="ECF3FA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10272464" y="86144"/>
            <a:ext cx="7889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ИИСТ</a:t>
            </a:r>
          </a:p>
        </p:txBody>
      </p:sp>
      <p:sp>
        <p:nvSpPr>
          <p:cNvPr id="35" name="Прямоугольник 34"/>
          <p:cNvSpPr/>
          <p:nvPr userDrawn="1"/>
        </p:nvSpPr>
        <p:spPr>
          <a:xfrm>
            <a:off x="131101" y="3027771"/>
            <a:ext cx="269530" cy="291400"/>
          </a:xfrm>
          <a:prstGeom prst="rect">
            <a:avLst/>
          </a:prstGeom>
          <a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52377"/>
              <a:satOff val="-2891"/>
              <a:lumOff val="11166"/>
              <a:alphaOff val="-4000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6" name="Рисунок 35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12486" y="3387108"/>
            <a:ext cx="298661" cy="284535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9165" y="2669148"/>
            <a:ext cx="317886" cy="254308"/>
          </a:xfrm>
          <a:prstGeom prst="rect">
            <a:avLst/>
          </a:prstGeom>
        </p:spPr>
      </p:pic>
      <p:sp>
        <p:nvSpPr>
          <p:cNvPr id="26" name="Прямоугольник 25"/>
          <p:cNvSpPr/>
          <p:nvPr userDrawn="1"/>
        </p:nvSpPr>
        <p:spPr>
          <a:xfrm rot="16200000">
            <a:off x="-251302" y="5842995"/>
            <a:ext cx="9720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ТиНОСиЭ</a:t>
            </a:r>
          </a:p>
        </p:txBody>
      </p:sp>
    </p:spTree>
    <p:extLst>
      <p:ext uri="{BB962C8B-B14F-4D97-AF65-F5344CB8AC3E}">
        <p14:creationId xmlns:p14="http://schemas.microsoft.com/office/powerpoint/2010/main" val="27527797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 userDrawn="1"/>
        </p:nvSpPr>
        <p:spPr>
          <a:xfrm>
            <a:off x="4639" y="0"/>
            <a:ext cx="460176" cy="43204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4639" y="0"/>
            <a:ext cx="460176" cy="432048"/>
          </a:xfrm>
        </p:spPr>
        <p:txBody>
          <a:bodyPr/>
          <a:lstStyle>
            <a:lvl1pPr algn="ctr">
              <a:defRPr sz="1600" b="1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08217799-9F31-4B86-AAB5-4E5A709D2EC9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8616280" y="188640"/>
            <a:ext cx="834008" cy="72008"/>
            <a:chOff x="3863752" y="188640"/>
            <a:chExt cx="834008" cy="72008"/>
          </a:xfrm>
        </p:grpSpPr>
        <p:sp>
          <p:nvSpPr>
            <p:cNvPr id="13" name="Овал 12"/>
            <p:cNvSpPr/>
            <p:nvPr userDrawn="1"/>
          </p:nvSpPr>
          <p:spPr>
            <a:xfrm>
              <a:off x="3863752" y="188640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Овал 13"/>
            <p:cNvSpPr/>
            <p:nvPr userDrawn="1"/>
          </p:nvSpPr>
          <p:spPr>
            <a:xfrm>
              <a:off x="4016152" y="188640"/>
              <a:ext cx="72008" cy="72008"/>
            </a:xfrm>
            <a:prstGeom prst="ellipse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Овал 14"/>
            <p:cNvSpPr/>
            <p:nvPr userDrawn="1"/>
          </p:nvSpPr>
          <p:spPr>
            <a:xfrm>
              <a:off x="4168552" y="188640"/>
              <a:ext cx="72008" cy="72008"/>
            </a:xfrm>
            <a:prstGeom prst="ellipse">
              <a:avLst/>
            </a:prstGeom>
            <a:solidFill>
              <a:srgbClr val="72A4E0"/>
            </a:solidFill>
            <a:ln>
              <a:solidFill>
                <a:srgbClr val="72A4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Овал 15"/>
            <p:cNvSpPr/>
            <p:nvPr userDrawn="1"/>
          </p:nvSpPr>
          <p:spPr>
            <a:xfrm>
              <a:off x="4320952" y="188640"/>
              <a:ext cx="72008" cy="72008"/>
            </a:xfrm>
            <a:prstGeom prst="ellipse">
              <a:avLst/>
            </a:prstGeom>
            <a:solidFill>
              <a:srgbClr val="8EB6E6"/>
            </a:solidFill>
            <a:ln>
              <a:solidFill>
                <a:srgbClr val="8EB6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Овал 16"/>
            <p:cNvSpPr/>
            <p:nvPr userDrawn="1"/>
          </p:nvSpPr>
          <p:spPr>
            <a:xfrm>
              <a:off x="4473352" y="188640"/>
              <a:ext cx="72008" cy="72008"/>
            </a:xfrm>
            <a:prstGeom prst="ellipse">
              <a:avLst/>
            </a:prstGeom>
            <a:solidFill>
              <a:srgbClr val="C9DCF3"/>
            </a:solidFill>
            <a:ln>
              <a:solidFill>
                <a:srgbClr val="C9DCF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Овал 17"/>
            <p:cNvSpPr/>
            <p:nvPr userDrawn="1"/>
          </p:nvSpPr>
          <p:spPr>
            <a:xfrm>
              <a:off x="4625752" y="188640"/>
              <a:ext cx="72008" cy="72008"/>
            </a:xfrm>
            <a:prstGeom prst="ellipse">
              <a:avLst/>
            </a:prstGeom>
            <a:solidFill>
              <a:srgbClr val="DEEBF7"/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5" name="Прямоугольник 24"/>
          <p:cNvSpPr/>
          <p:nvPr userDrawn="1"/>
        </p:nvSpPr>
        <p:spPr>
          <a:xfrm>
            <a:off x="120307" y="1974266"/>
            <a:ext cx="262265" cy="283546"/>
          </a:xfrm>
          <a:prstGeom prst="rect">
            <a:avLst/>
          </a:prstGeom>
          <a:blipFill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22447"/>
              <a:satOff val="-1239"/>
              <a:lumOff val="4785"/>
              <a:alphaOff val="-1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Прямоугольник 27"/>
          <p:cNvSpPr/>
          <p:nvPr userDrawn="1"/>
        </p:nvSpPr>
        <p:spPr>
          <a:xfrm>
            <a:off x="123036" y="1630712"/>
            <a:ext cx="240012" cy="259488"/>
          </a:xfrm>
          <a:prstGeom prst="rect">
            <a:avLst/>
          </a:prstGeom>
          <a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48636"/>
              <a:satOff val="-2685"/>
              <a:lumOff val="10368"/>
              <a:alphaOff val="-3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1" name="Рисунок 30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72254" y="2354263"/>
            <a:ext cx="375300" cy="226396"/>
          </a:xfrm>
          <a:prstGeom prst="rect">
            <a:avLst/>
          </a:prstGeom>
        </p:spPr>
      </p:pic>
      <p:sp>
        <p:nvSpPr>
          <p:cNvPr id="24" name="Прямоугольник 23"/>
          <p:cNvSpPr/>
          <p:nvPr userDrawn="1"/>
        </p:nvSpPr>
        <p:spPr>
          <a:xfrm>
            <a:off x="464815" y="432048"/>
            <a:ext cx="11715031" cy="6425952"/>
          </a:xfrm>
          <a:prstGeom prst="rect">
            <a:avLst/>
          </a:prstGeom>
          <a:solidFill>
            <a:srgbClr val="ECF3FA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10272464" y="86144"/>
            <a:ext cx="7889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ИИСТ</a:t>
            </a:r>
          </a:p>
        </p:txBody>
      </p:sp>
      <p:sp>
        <p:nvSpPr>
          <p:cNvPr id="35" name="Прямоугольник 34"/>
          <p:cNvSpPr/>
          <p:nvPr userDrawn="1"/>
        </p:nvSpPr>
        <p:spPr>
          <a:xfrm>
            <a:off x="131101" y="3027771"/>
            <a:ext cx="269530" cy="291400"/>
          </a:xfrm>
          <a:prstGeom prst="rect">
            <a:avLst/>
          </a:prstGeom>
          <a:blipFill>
            <a:blip r:embed="rId5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" r="-4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alpha val="90000"/>
              <a:hueOff val="52377"/>
              <a:satOff val="-2891"/>
              <a:lumOff val="11166"/>
              <a:alphaOff val="-4000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6" name="Рисунок 35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12486" y="3387108"/>
            <a:ext cx="298661" cy="284535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89165" y="2669148"/>
            <a:ext cx="317886" cy="254308"/>
          </a:xfrm>
          <a:prstGeom prst="rect">
            <a:avLst/>
          </a:prstGeom>
        </p:spPr>
      </p:pic>
      <p:sp>
        <p:nvSpPr>
          <p:cNvPr id="26" name="Прямоугольник 25"/>
          <p:cNvSpPr/>
          <p:nvPr userDrawn="1"/>
        </p:nvSpPr>
        <p:spPr>
          <a:xfrm rot="16200000">
            <a:off x="-251302" y="5842995"/>
            <a:ext cx="9720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72A4E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ТиНОСиЭ</a:t>
            </a:r>
          </a:p>
        </p:txBody>
      </p:sp>
    </p:spTree>
    <p:extLst>
      <p:ext uri="{BB962C8B-B14F-4D97-AF65-F5344CB8AC3E}">
        <p14:creationId xmlns:p14="http://schemas.microsoft.com/office/powerpoint/2010/main" val="1723379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4BF784B-A687-04BB-153C-13A56319C6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49878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217799-9F31-4B86-AAB5-4E5A709D2E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2582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8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jpeg"/><Relationship Id="rId11" Type="http://schemas.openxmlformats.org/officeDocument/2006/relationships/image" Target="../media/image27.png"/><Relationship Id="rId5" Type="http://schemas.openxmlformats.org/officeDocument/2006/relationships/image" Target="../media/image21.jpeg"/><Relationship Id="rId10" Type="http://schemas.openxmlformats.org/officeDocument/2006/relationships/image" Target="../media/image26.jpeg"/><Relationship Id="rId4" Type="http://schemas.openxmlformats.org/officeDocument/2006/relationships/image" Target="../media/image20.png"/><Relationship Id="rId9" Type="http://schemas.openxmlformats.org/officeDocument/2006/relationships/image" Target="../media/image25.jpeg"/><Relationship Id="rId1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microsoft.com/office/2007/relationships/hdphoto" Target="../media/hdphoto2.wdp"/><Relationship Id="rId4" Type="http://schemas.openxmlformats.org/officeDocument/2006/relationships/image" Target="../media/image11.png"/><Relationship Id="rId9" Type="http://schemas.microsoft.com/office/2007/relationships/hdphoto" Target="../media/hdphoto4.wdp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7824192" cy="6857999"/>
          </a:xfrm>
          <a:prstGeom prst="rect">
            <a:avLst/>
          </a:prstGeom>
          <a:solidFill>
            <a:srgbClr val="225A9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343472" y="2722482"/>
            <a:ext cx="606405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ентр технологии и нормативного обеспечения строительства и эксплуатаци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824192" y="4693074"/>
            <a:ext cx="35590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2024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/>
          <a:srcRect l="472" t="2495" r="86553" b="1226"/>
          <a:stretch/>
        </p:blipFill>
        <p:spPr>
          <a:xfrm>
            <a:off x="8807624" y="2747636"/>
            <a:ext cx="1656184" cy="1632063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8343588" y="1619530"/>
            <a:ext cx="25922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>
                <a:solidFill>
                  <a:srgbClr val="225A9C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СОЮЗНЫЙ НАУЧНО-ИССЛЕДОВАТЕЛЬСКИЙ ИНСТИТУТ ПО СТРОИТЕЛЬСТВУ, ЭКСПЛУАТАЦИИ ТРУБОПРОВОДОВ И ОБЪЕКТОВ ТЭК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43588" y="2075861"/>
            <a:ext cx="25922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>
                <a:solidFill>
                  <a:srgbClr val="225A9C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НЖИНИРИНГОВАЯ НЕФТЕГАЗОВАЯ КОМПАНИ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911424" y="1305063"/>
            <a:ext cx="6984776" cy="4404499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7863234" y="1305063"/>
            <a:ext cx="3520030" cy="4404499"/>
          </a:xfrm>
          <a:prstGeom prst="rect">
            <a:avLst/>
          </a:prstGeom>
          <a:noFill/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7863234" y="1343025"/>
            <a:ext cx="0" cy="4329113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1502866" y="4693074"/>
            <a:ext cx="59046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зработка нормативной и технической докум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3384331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900000" y="1332000"/>
            <a:ext cx="10908000" cy="5292000"/>
          </a:xfrm>
          <a:prstGeom prst="rect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10</a:t>
            </a:fld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5199209" y="-1171677"/>
            <a:ext cx="2691799" cy="6515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9905136"/>
              </p:ext>
            </p:extLst>
          </p:nvPr>
        </p:nvGraphicFramePr>
        <p:xfrm>
          <a:off x="1008000" y="1512000"/>
          <a:ext cx="10512000" cy="48509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875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244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4889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70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Обозначение технического комитета</a:t>
                      </a: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70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Наименование технического комитета</a:t>
                      </a: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377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К 023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ефтяная и газовая промышленность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1377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К 063</a:t>
                      </a: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теклопластики, стекловолокна и изделия из них</a:t>
                      </a: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1377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К 144 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троительные материалы и изделия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1377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К</a:t>
                      </a:r>
                      <a:r>
                        <a:rPr lang="ru-RU" sz="15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195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атериалы и покрытия лакокрасочные</a:t>
                      </a: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01377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К 214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Защита изделий и материалов от коррозии, старения и биоповреждений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1377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К 259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рубопроводная арматура и сильфоны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1377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К 357 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тальные и чугунные трубы и баллоны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1377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К 364 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варка и родственные процессы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1377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К 371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еразрушающий контроль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1377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К 375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еталлопродукция из черных металлов и сплавов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0528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tabLst>
                          <a:tab pos="88900" algn="l"/>
                        </a:tabLs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К 400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роизводство работ в строительстве. Типовые технологические и организационные процессы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1377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К 465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троительство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1377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К 497</a:t>
                      </a:r>
                      <a:endParaRPr lang="ru-RU" sz="15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72158" marR="721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500" kern="15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омпозиты, конструкции и изделия из них</a:t>
                      </a:r>
                    </a:p>
                  </a:txBody>
                  <a:tcPr marL="72158" marR="7215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900000" y="612000"/>
            <a:ext cx="2160000" cy="648000"/>
          </a:xfrm>
          <a:prstGeom prst="rect">
            <a:avLst/>
          </a:prstGeom>
          <a:solidFill>
            <a:srgbClr val="225A9C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Участие в технических комитетах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096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</a:t>
            </a:r>
          </a:p>
          <a:p>
            <a:pPr algn="ctr"/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и актуализация НТД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5292000" y="612000"/>
            <a:ext cx="2160000" cy="6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anchor="ctr" anchorCtr="1">
            <a:spAutoFit/>
          </a:bodyPr>
          <a:lstStyle/>
          <a:p>
            <a:pPr algn="ctr"/>
            <a:r>
              <a:rPr lang="ru-RU" alt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Выполнение</a:t>
            </a:r>
          </a:p>
          <a:p>
            <a:pPr algn="ctr"/>
            <a:r>
              <a:rPr lang="ru-RU" alt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ИР и НИОКР</a:t>
            </a:r>
            <a:endParaRPr lang="ru-RU" sz="1400" dirty="0">
              <a:solidFill>
                <a:srgbClr val="225A9C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9684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alt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 особо значимых ТУ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7488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none" anchor="ctr" anchorCtr="1">
            <a:spAutoFit/>
          </a:bodyPr>
          <a:lstStyle/>
          <a:p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 СТУ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8041737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900000" y="1332000"/>
            <a:ext cx="10908000" cy="5292000"/>
          </a:xfrm>
          <a:prstGeom prst="rect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11</a:t>
            </a:fld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972000" y="1476000"/>
            <a:ext cx="10769062" cy="288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Опыт разработки и изменения нормативной технической документации за последние 10 лет:</a:t>
            </a: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6418549"/>
              </p:ext>
            </p:extLst>
          </p:nvPr>
        </p:nvGraphicFramePr>
        <p:xfrm>
          <a:off x="983432" y="1762713"/>
          <a:ext cx="10729193" cy="480783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373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918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263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бозначение нормативного документа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аименование нормативного документа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211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ОСТ Р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(проект)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огружные трубные системы на основе гибких труб, применяемые в качестве концентрических лифтовых колонн на нефтяных и газовых скважинах. Общие технические условия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21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ОСТ Р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(проект)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Единая система защиты от коррозии и старения. Покрытия защитные неорганические протекторные на цинк-силикатной основе. Общие технические условия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1263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ОСТ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9.602-2016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Единая система защиты от коррозии и старения. Сооружения подземные. Общие требования к защите от коррозии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263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ОСТ Р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59411-2021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рубопроводы промысловые из стеклопластиковых труб. Правила проектирования и эксплуатации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263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 33.13330.2012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счет на прочность стальных трубопроводов. Актуализированная редакция СНиП 2.04.12-86*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263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36.13330.2012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агистральные трубопроводы, Актуализированная редакция СНиП 2.05.06-85*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63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86.13330.2014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агистральные трубопроводы. СНиП III-42-80*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263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125.13330.2012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ефтепродуктопроводы, прокладываемые на территории городов и других населенных пунктов. Актуализированная редакция СНиП 2.05.13-90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263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 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365.1325800.2017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зервуары вертикальные цилиндрические стальные для хранения нефтепродуктов. Правила производства и приемки работ при монтаже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263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 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378.1325800.2017 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орские трубопроводы. Правила проектирования и строительства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263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411.1325800.2018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рубопроводы магистральные и промысловые для нефти и газа. Испытания перед сдачей построенных объектов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211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424.1325800.2019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рубопроводы магистральные и промысловые для нефти и газа. Производство работ по противокоррозионной защите средствами 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электрохимзащиты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и контроль выполнения работ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2632">
                <a:tc gridSpan="2">
                  <a:txBody>
                    <a:bodyPr/>
                    <a:lstStyle/>
                    <a:p>
                      <a:pPr marL="0" indent="5024438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Изменения и актуализация сводов правил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21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33.13330.2012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Изменение № 1 и № 2)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счет на прочность стальных трубопроводов. Актуализированная редакция СНиП 2.04.12-86*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211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36.13330.2012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Пересмотр)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агистральные трубопроводы, Актуализированная редакция СНиП 2.05.06-85*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211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86.13330.2014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Пересмотр, Изменение № 1 и № 2)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агистральные трубопроводы. СНиП III-42-80*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211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СП 125.13330.2012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Пересмотр, Изменение № 1)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ефтепродуктопроводы, прокладываемые на территории городов и других населенных пунктов. Актуализированная редакция СНиП 2.05.13-90 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7211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378.1325800.2017 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Изменение № 1)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орские трубопроводы. Правила проектирования и строительства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7211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 </a:t>
                      </a: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402.1325800.2018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Изменение № 1)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Здания жилые . Правила проектирования систем 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азопотребления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900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Участие в технических комитетах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096000" y="612000"/>
            <a:ext cx="2160000" cy="648000"/>
          </a:xfrm>
          <a:prstGeom prst="rect">
            <a:avLst/>
          </a:prstGeom>
          <a:solidFill>
            <a:srgbClr val="225A9C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и актуализация НТД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5292000" y="612000"/>
            <a:ext cx="2160000" cy="6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anchor="ctr" anchorCtr="1">
            <a:spAutoFit/>
          </a:bodyPr>
          <a:lstStyle/>
          <a:p>
            <a:pPr algn="ctr"/>
            <a:r>
              <a:rPr lang="ru-RU" alt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Выполнение</a:t>
            </a:r>
          </a:p>
          <a:p>
            <a:pPr algn="ctr"/>
            <a:r>
              <a:rPr lang="ru-RU" alt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ИР и НИОКР</a:t>
            </a:r>
            <a:endParaRPr lang="ru-RU" sz="1400" dirty="0">
              <a:solidFill>
                <a:srgbClr val="225A9C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9684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alt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 особо значимых ТУ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7488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none" anchor="ctr" anchorCtr="1">
            <a:spAutoFit/>
          </a:bodyPr>
          <a:lstStyle/>
          <a:p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 СТУ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4061470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900000" y="1332000"/>
            <a:ext cx="10908000" cy="5292000"/>
          </a:xfrm>
          <a:prstGeom prst="rect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12</a:t>
            </a:fld>
            <a:endParaRPr lang="ru-RU"/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8973906"/>
              </p:ext>
            </p:extLst>
          </p:nvPr>
        </p:nvGraphicFramePr>
        <p:xfrm>
          <a:off x="1008000" y="1653514"/>
          <a:ext cx="10692666" cy="489654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07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851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415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№ п</a:t>
                      </a:r>
                      <a:r>
                        <a:rPr lang="en-US" sz="10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/</a:t>
                      </a: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п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Наименование предмета контракта (договора)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5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1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ыполнение научно-исследовательских работ по теме: «Технический аудит, разработка концепции развития и модернизации газотранспортной системы с разработкой информационно-аналитической системы оценки технического состояния и параметров эксплуатации объектов газотранспортной системы»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213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2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Исследование возможности снижения коэффициента надежности по материалу до 1,34 для </a:t>
                      </a:r>
                      <a:r>
                        <a:rPr lang="ru-RU" sz="950" kern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рямошовных</a:t>
                      </a:r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сварных труб, изготовленных </a:t>
                      </a:r>
                      <a:r>
                        <a:rPr lang="ru-RU" sz="950" kern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электроконтактной</a:t>
                      </a:r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сваркой токами высокой частоты, подвергнутых локальной термообработке сварных соединений и автоматическому контролю в объеме 100% на </a:t>
                      </a:r>
                      <a:r>
                        <a:rPr lang="ru-RU" sz="950" kern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плошность</a:t>
                      </a:r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основного металла и сварных соединений неразрушающими методами»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242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3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ыполнение научно-исследовательских и опытно-конструкторских работ по теме: «Разработка методики прогнозирования опасности аварийных разрушений КРН»</a:t>
                      </a:r>
                    </a:p>
                  </a:txBody>
                  <a:tcPr marL="37566" marR="37566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213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4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Документальная экспертиза материалов, предоставленных Заказчиком, в целях предоставления экспертного мнения в отношении отнесения газопровода, а также лупингов на участках газопровода от ГКМ </a:t>
                      </a:r>
                      <a:r>
                        <a:rPr lang="en-US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</a:t>
                      </a:r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до ГКМ</a:t>
                      </a:r>
                      <a:r>
                        <a:rPr lang="en-US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Y</a:t>
                      </a:r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к магистральным трубопроводам с точки зрения соответствия функционального назначения и технических характеристик нормативным актам в области строительства и эксплуатации магистральных трубопроводов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35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5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роведение исследований и разработка экспертного заключения о возможности и условиях безопасной эксплуатации лупинга трубопровода (трубы 426х11 мм, ст.13ХФА, ТУ 1317-006.1-593377520-2003) с учетом результатов внутритрубной диагностики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242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6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роведение аудита предприятия с целью выявления возможности расширения услуг и внедрения новой продукции с разработкой аналитического отчета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242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7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счетно-теоретическая проработка вариантов конструктивно-технологического исполнения коробов телескопической стрелы из композиционных материалов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213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8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недрение автоматизированной системы экспресс-оценки в режиме </a:t>
                      </a:r>
                      <a:r>
                        <a:rPr lang="ru-RU" sz="950" kern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nline</a:t>
                      </a:r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состояния изоляционного покрытия трубопроводов «Контроль изоляции» на примере участков МГ с оказанием экспертно-консультационных услуг по формированию оптимального плана ремонта и замены изношенных участков изоляции на базе разработанной технологии на следующих объектах МГ: «Газопровод-отвод 212 км»; «Газопровод-отвод 43,8 км»; «Газопровод-отвод 15,2 км», всего 271 км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35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9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зработка научно-технического отчета «Исследование возможности разработки типовых специальных технических условий на применение быстровозводимых и многоразовых трубопроводов»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242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10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зработка методики определения остаточного</a:t>
                      </a:r>
                      <a:r>
                        <a:rPr lang="ru-RU" sz="950" kern="12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ресурса полимерных трубопроводов системы водоснабжения и водоотведения</a:t>
                      </a:r>
                      <a:endParaRPr lang="ru-RU" sz="950" kern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242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11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зработка основных технических решений для организации большепролетных участков трубопроводов пароводяной смеси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35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12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зработка</a:t>
                      </a:r>
                      <a:r>
                        <a:rPr lang="ru-RU" sz="950" kern="12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научно-исследовательской документации с целью обоснования возможности эксплуатации трубопроводов без повторного нанесения антикоррозионной защиты</a:t>
                      </a:r>
                      <a:endParaRPr lang="ru-RU" sz="950" kern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35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13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ыполнение научно-исследовательских</a:t>
                      </a:r>
                      <a:r>
                        <a:rPr lang="ru-RU" sz="950" kern="12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работ по теме: «Мониторинг действующих нормативных документов в нефтегазовой сфере, их взаимосвязей на предмет нормативного обеспечения возможностей применения полимерных трубных решений при проектировании, строительстве и реконструкции промысловых объектов»</a:t>
                      </a:r>
                      <a:endParaRPr lang="ru-RU" sz="950" kern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135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14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ыполнение научно-исследовательских работ по теме: «Мониторинг действующих нормативных документов по проектированию,</a:t>
                      </a:r>
                      <a:r>
                        <a:rPr lang="ru-RU" sz="950" kern="12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строительству и эксплуатации полимерных технологических трубопроводов в системах водоснабжения и водоотведения»</a:t>
                      </a:r>
                      <a:endParaRPr lang="ru-RU" sz="950" kern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242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5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15</a:t>
                      </a: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950" kern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ыполнение научно-исследовательских работ по теме: «Оценка</a:t>
                      </a:r>
                      <a:r>
                        <a:rPr lang="ru-RU" sz="950" kern="12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возможности применения стеклопластиковых труб и изделий в производственно-дождевой канализации»</a:t>
                      </a:r>
                      <a:endParaRPr lang="ru-RU" sz="950" kern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7566" marR="375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1008000" y="1362254"/>
            <a:ext cx="821886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altLang="ru-RU" sz="16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Опыт выполнения НИР и НИОКР за последние 5 лет:</a:t>
            </a:r>
            <a:endParaRPr lang="ru-RU" sz="1600" dirty="0">
              <a:solidFill>
                <a:srgbClr val="225A9C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900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Участие в технических комитетах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096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</a:t>
            </a:r>
          </a:p>
          <a:p>
            <a:pPr algn="ctr"/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и актуализация НТД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292000" y="612000"/>
            <a:ext cx="2160000" cy="648000"/>
          </a:xfrm>
          <a:prstGeom prst="rect">
            <a:avLst/>
          </a:prstGeom>
          <a:solidFill>
            <a:srgbClr val="225A9C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altLang="ru-RU" sz="14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Выполнение</a:t>
            </a:r>
          </a:p>
          <a:p>
            <a:pPr algn="ctr"/>
            <a:r>
              <a:rPr lang="ru-RU" altLang="ru-RU" sz="14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ИР и НИОКР</a:t>
            </a:r>
            <a:endParaRPr lang="ru-RU" sz="1400" dirty="0">
              <a:solidFill>
                <a:schemeClr val="bg1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684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alt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 особо значимых ТУ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488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none" anchor="ctr" anchorCtr="1">
            <a:spAutoFit/>
          </a:bodyPr>
          <a:lstStyle/>
          <a:p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 СТУ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5053714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900000" y="1332000"/>
            <a:ext cx="10908000" cy="5292000"/>
          </a:xfrm>
          <a:prstGeom prst="rect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13</a:t>
            </a:fld>
            <a:endParaRPr lang="ru-RU"/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7443939"/>
              </p:ext>
            </p:extLst>
          </p:nvPr>
        </p:nvGraphicFramePr>
        <p:xfrm>
          <a:off x="1008000" y="1414729"/>
          <a:ext cx="10729193" cy="51639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925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905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461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394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№ п/п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Наименование</a:t>
                      </a:r>
                    </a:p>
                  </a:txBody>
                  <a:tcPr marL="12198" marR="1219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Заказчик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5379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1 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933950" algn="l"/>
                        </a:tabLs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зработка специальных технических условий на проектирование и строительство по объекту: «Электрометаллургический комплекс. Нижегородская обл., г. Выкса.</a:t>
                      </a:r>
                      <a:r>
                        <a:rPr lang="ru-RU" sz="10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роммикрорайон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№ 7. Газопровод давлением 1,8 МПа»</a:t>
                      </a:r>
                    </a:p>
                  </a:txBody>
                  <a:tcPr marL="12198" marR="12198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0" algn="l" defTabSz="898525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Эколант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896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2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зработка специальных технических условий на проектирование и строительство объекта «Газопровод сети газораспределения</a:t>
                      </a:r>
                      <a:r>
                        <a:rPr lang="ru-RU" sz="10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давлением 1,8 МПа от точки присоединения к распределительному газопроводу до объекта по адресу: Нижегородская область, Выксунский район, в районе с. </a:t>
                      </a:r>
                      <a:r>
                        <a:rPr lang="ru-RU" sz="1000" baseline="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отмос</a:t>
                      </a:r>
                      <a:r>
                        <a:rPr lang="ru-RU" sz="10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, в районе участка № 1-А, </a:t>
                      </a:r>
                      <a:r>
                        <a:rPr lang="ru-RU" sz="1000" baseline="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д</a:t>
                      </a:r>
                      <a:r>
                        <a:rPr lang="ru-RU" sz="10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№ 52:53:0010203:712; г. Выкса, </a:t>
                      </a:r>
                      <a:r>
                        <a:rPr lang="ru-RU" sz="1000" baseline="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роммирорайон</a:t>
                      </a:r>
                      <a:r>
                        <a:rPr lang="ru-RU" sz="10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№7, «ОМК-Сталь», с южной стороны от земельного участка № 1, </a:t>
                      </a:r>
                      <a:r>
                        <a:rPr lang="ru-RU" sz="1000" baseline="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д</a:t>
                      </a:r>
                      <a:r>
                        <a:rPr lang="ru-RU" sz="10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№ 52:53:0010203:746»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2198" marR="12198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0" algn="l" defTabSz="898525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АО «Газпром газораспределение Нижний Новгород»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5379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3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зработка специальных технических условий на проектирование и строительство объекта: «АО «ТАНЕКО». Комплекс нефтеперерабатывающих и нефтехимических заводов. Строительство трубопровода для отгрузки светлых нефтепродуктов с АО «ТАНЕКО» на ООО «Нижнекамская нефтебаза»</a:t>
                      </a:r>
                    </a:p>
                  </a:txBody>
                  <a:tcPr marL="12198" marR="12198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0" algn="l" defTabSz="898525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АО «Татнефть»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55379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4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«Вынос и восстановление (перекладка) газопровода среднего давления попадающего в зону производства работ по строительству объекта «Строительство многоуровневых транспортных развязок через Казанское и Горьковское направление Московской железной дороги на участке от шоссе Энтузиастов до Рязанского проспекта»</a:t>
                      </a:r>
                    </a:p>
                  </a:txBody>
                  <a:tcPr marL="12198" marR="12198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0" algn="l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О 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«</a:t>
                      </a: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ОСГАЗ»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 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0340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5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ыполнение работ по разработке, экспертизе и согласованию в уполномоченных органах специальных технических условий для разработки проектной документации на объекты капитального строительства»</a:t>
                      </a:r>
                    </a:p>
                  </a:txBody>
                  <a:tcPr marL="12198" marR="12198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О «ГИПРОНИИ «ПРОПАН»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0340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6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зработка и согласование специальных технических условий (СТУ) на проектирование объекта капитального строительства «Обустройство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окамасовског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месторождения нефти. Куст скважин №61 ш.121/15»</a:t>
                      </a:r>
                    </a:p>
                  </a:txBody>
                  <a:tcPr marL="12198" marR="12198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ЗАО «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юменьНИПИнефть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717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7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зработка специальных технических условий, выполнение организационно-методического сопровождения при проведении научно-технической экспертизы (экспертной оценки) и согласования специальных технических условий (СТУ) на проектирование объекта капитального строительства «Обустройство месторождения нефти. Кусты скважин №№ 35, 36, 37</a:t>
                      </a:r>
                    </a:p>
                  </a:txBody>
                  <a:tcPr marL="12198" marR="12198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ПНИС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идроматик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МТ» (ООО «ПГМТ»)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5379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8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зработка и согласование специальных технических условий (СТУ) на проектирование и строительство участка Демьянка-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уть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Ях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Свердловской железной дороги Тобольск-Сургут, перегон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зд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Ершовка-рзд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анчем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, ПК 4456 – ПК 4461</a:t>
                      </a:r>
                    </a:p>
                  </a:txBody>
                  <a:tcPr marL="12198" marR="12198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АО «РЖД»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5379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9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зработка и согласование СТУ на проектирование, реконструкцию и эксплуатацию низконапорного водовода (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еноманской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воды БКНС-5) в рамках инвестиционной программы «Реконструкция, строительство участков нефтесборных сетей и высоконапорных, низконапорных водоводов Южно-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Ягунског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месторождения»</a:t>
                      </a:r>
                    </a:p>
                  </a:txBody>
                  <a:tcPr marL="12198" marR="12198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ЛУКОЙЛ-Западная Сибирь»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0340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10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азработка СТУ на проектирование, строительство и эксплуатацию низконапорных водоводов объектов нефтяных месторождений ТПП «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овхнефтегаз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 (в количестве 2 СТУ)</a:t>
                      </a:r>
                    </a:p>
                  </a:txBody>
                  <a:tcPr marL="12198" marR="12198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ЛУКОЙЛ-Западная Сибирь»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900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Участие в технических комитетах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096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</a:t>
            </a:r>
          </a:p>
          <a:p>
            <a:pPr algn="ctr"/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и актуализация НТД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292000" y="612000"/>
            <a:ext cx="2160000" cy="6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anchor="ctr" anchorCtr="1">
            <a:spAutoFit/>
          </a:bodyPr>
          <a:lstStyle/>
          <a:p>
            <a:pPr algn="ctr"/>
            <a:r>
              <a:rPr lang="ru-RU" alt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Выполнение</a:t>
            </a:r>
          </a:p>
          <a:p>
            <a:pPr algn="ctr"/>
            <a:r>
              <a:rPr lang="ru-RU" alt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ИР и НИОКР</a:t>
            </a:r>
            <a:endParaRPr lang="ru-RU" sz="1400" dirty="0">
              <a:solidFill>
                <a:srgbClr val="225A9C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684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alt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 особо значимых ТУ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488000" y="612000"/>
            <a:ext cx="2160000" cy="648000"/>
          </a:xfrm>
          <a:prstGeom prst="rect">
            <a:avLst/>
          </a:prstGeom>
          <a:solidFill>
            <a:srgbClr val="225A9C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 СТУ</a:t>
            </a:r>
          </a:p>
        </p:txBody>
      </p:sp>
    </p:spTree>
    <p:extLst>
      <p:ext uri="{BB962C8B-B14F-4D97-AF65-F5344CB8AC3E}">
        <p14:creationId xmlns:p14="http://schemas.microsoft.com/office/powerpoint/2010/main" val="42775197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899999" y="1332000"/>
            <a:ext cx="10908000" cy="5292000"/>
          </a:xfrm>
          <a:prstGeom prst="rect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14</a:t>
            </a:fld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972000" y="2808000"/>
            <a:ext cx="10775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Опыт разработки особо значимых ТУ за последние 5 лет: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9588709"/>
              </p:ext>
            </p:extLst>
          </p:nvPr>
        </p:nvGraphicFramePr>
        <p:xfrm>
          <a:off x="972000" y="3240000"/>
          <a:ext cx="10729193" cy="32650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42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949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879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№ п/п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Наименование</a:t>
                      </a:r>
                    </a:p>
                  </a:txBody>
                  <a:tcPr marL="12198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296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1 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933950" algn="l"/>
                        </a:tabLs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У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«Теплоизоляционный полимерно-тканевый чехол на основе вспененного каучука»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2198" marR="10800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446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2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У «Трубы многослойные композитные армированные системой нитей и соединительные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элементы к ним»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2198" marR="10800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593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3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У «Трубы многослойные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композитные, армированные системой нитей с теплоизоляцией и подогревом и соединительные элементы к ним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2198" marR="10800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288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4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У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«Патрубки усиленные из углеродистой и низколегированной стали»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2198" marR="10800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446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5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У «Заглушки эллиптические из углеродистой и низколегированной стали»</a:t>
                      </a:r>
                    </a:p>
                  </a:txBody>
                  <a:tcPr marL="12198" marR="10800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1228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6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У «Трубы и соединительные детали стальные диаметром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7-1420 мм с внутренним противокоррозионным покрытием на основе порошковых эпоксидных материалов»</a:t>
                      </a:r>
                    </a:p>
                  </a:txBody>
                  <a:tcPr marL="12198" marR="10800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4446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7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У «Трубы и соединительные детали стальные диаметром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7-1420 мм с наружным противокоррозионным покрытием на основе 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ермоактивных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материалов»</a:t>
                      </a:r>
                    </a:p>
                  </a:txBody>
                  <a:tcPr marL="12198" marR="10800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4446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Open Sans Extrabold" panose="020B0906030804020204" pitchFamily="34" charset="0"/>
                          <a:ea typeface="Open Sans Extrabold" panose="020B0906030804020204" pitchFamily="34" charset="0"/>
                          <a:cs typeface="Open Sans Extrabold" panose="020B0906030804020204" pitchFamily="34" charset="0"/>
                        </a:rPr>
                        <a:t>8</a:t>
                      </a:r>
                    </a:p>
                  </a:txBody>
                  <a:tcPr marL="12198" marR="1219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рочие ТУ на трубную продукцию и антикоррозионные защитные покрытия</a:t>
                      </a:r>
                    </a:p>
                  </a:txBody>
                  <a:tcPr marL="12198" marR="10800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25A9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2" name="Прямоугольник 21"/>
          <p:cNvSpPr/>
          <p:nvPr/>
        </p:nvSpPr>
        <p:spPr>
          <a:xfrm>
            <a:off x="972000" y="1584000"/>
            <a:ext cx="1076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 ТУ: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972000" y="1944000"/>
            <a:ext cx="10440000" cy="648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область деятельности Института также входит разработка технических условий (ТУ) к конструкциям, материалам и техническим средствам в области проектирования, строительства и эксплуатации промышленных объектов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00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Участие в технических комитетах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096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</a:t>
            </a:r>
          </a:p>
          <a:p>
            <a:pPr algn="ctr"/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и актуализация НТД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292000" y="612000"/>
            <a:ext cx="2160000" cy="6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anchor="ctr" anchorCtr="1">
            <a:spAutoFit/>
          </a:bodyPr>
          <a:lstStyle/>
          <a:p>
            <a:pPr algn="ctr"/>
            <a:r>
              <a:rPr lang="ru-RU" alt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Выполнение</a:t>
            </a:r>
          </a:p>
          <a:p>
            <a:pPr algn="ctr"/>
            <a:r>
              <a:rPr lang="ru-RU" alt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ИР и НИОКР</a:t>
            </a:r>
            <a:endParaRPr lang="ru-RU" sz="1400" dirty="0">
              <a:solidFill>
                <a:srgbClr val="225A9C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684000" y="612000"/>
            <a:ext cx="2160000" cy="648000"/>
          </a:xfrm>
          <a:prstGeom prst="rect">
            <a:avLst/>
          </a:prstGeom>
          <a:solidFill>
            <a:srgbClr val="225A9C"/>
          </a:solidFill>
        </p:spPr>
        <p:txBody>
          <a:bodyPr wrap="square" anchor="ctr" anchorCtr="1">
            <a:spAutoFit/>
          </a:bodyPr>
          <a:lstStyle/>
          <a:p>
            <a:pPr algn="ctr"/>
            <a:r>
              <a:rPr lang="ru-RU" altLang="ru-RU" sz="1400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 особо значимых ТУ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7488000" y="612000"/>
            <a:ext cx="2160000" cy="648000"/>
          </a:xfrm>
          <a:prstGeom prst="rect">
            <a:avLst/>
          </a:prstGeom>
          <a:solidFill>
            <a:schemeClr val="bg1"/>
          </a:solidFill>
        </p:spPr>
        <p:txBody>
          <a:bodyPr wrap="none" anchor="ctr" anchorCtr="1">
            <a:spAutoFit/>
          </a:bodyPr>
          <a:lstStyle/>
          <a:p>
            <a:r>
              <a:rPr lang="ru-RU" sz="14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аботка СТУ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4760064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/>
          <p:cNvSpPr/>
          <p:nvPr/>
        </p:nvSpPr>
        <p:spPr>
          <a:xfrm>
            <a:off x="971999" y="2520000"/>
            <a:ext cx="11088000" cy="432000"/>
          </a:xfrm>
          <a:prstGeom prst="rect">
            <a:avLst/>
          </a:prstGeom>
          <a:solidFill>
            <a:schemeClr val="bg1"/>
          </a:solidFill>
          <a:ln w="76200">
            <a:noFill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972000" y="5760000"/>
            <a:ext cx="11088000" cy="432000"/>
          </a:xfrm>
          <a:prstGeom prst="rect">
            <a:avLst/>
          </a:prstGeom>
          <a:solidFill>
            <a:schemeClr val="bg1"/>
          </a:solidFill>
          <a:ln w="76200">
            <a:noFill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972000" y="5220000"/>
            <a:ext cx="11088000" cy="432000"/>
          </a:xfrm>
          <a:prstGeom prst="rect">
            <a:avLst/>
          </a:prstGeom>
          <a:solidFill>
            <a:schemeClr val="bg1"/>
          </a:solidFill>
          <a:ln w="76200">
            <a:noFill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972000" y="4679358"/>
            <a:ext cx="11088000" cy="432000"/>
          </a:xfrm>
          <a:prstGeom prst="rect">
            <a:avLst/>
          </a:prstGeom>
          <a:solidFill>
            <a:schemeClr val="bg1"/>
          </a:solidFill>
          <a:ln w="76200">
            <a:noFill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/>
        </p:nvSpPr>
        <p:spPr>
          <a:xfrm>
            <a:off x="972000" y="4140000"/>
            <a:ext cx="11088000" cy="432000"/>
          </a:xfrm>
          <a:prstGeom prst="rect">
            <a:avLst/>
          </a:prstGeom>
          <a:solidFill>
            <a:schemeClr val="bg1"/>
          </a:solidFill>
          <a:ln w="76200">
            <a:noFill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972000" y="3600000"/>
            <a:ext cx="11088000" cy="432000"/>
          </a:xfrm>
          <a:prstGeom prst="rect">
            <a:avLst/>
          </a:prstGeom>
          <a:solidFill>
            <a:schemeClr val="bg1"/>
          </a:solidFill>
          <a:ln w="76200">
            <a:noFill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>
            <a:off x="972000" y="3060000"/>
            <a:ext cx="11088000" cy="432000"/>
          </a:xfrm>
          <a:prstGeom prst="rect">
            <a:avLst/>
          </a:prstGeom>
          <a:solidFill>
            <a:schemeClr val="bg1"/>
          </a:solidFill>
          <a:ln w="76200">
            <a:noFill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972000" y="1980000"/>
            <a:ext cx="11088000" cy="432000"/>
          </a:xfrm>
          <a:prstGeom prst="rect">
            <a:avLst/>
          </a:prstGeom>
          <a:solidFill>
            <a:schemeClr val="bg1"/>
          </a:solidFill>
          <a:ln w="76200">
            <a:noFill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/>
        </p:nvSpPr>
        <p:spPr>
          <a:xfrm>
            <a:off x="971999" y="1440000"/>
            <a:ext cx="11088000" cy="432000"/>
          </a:xfrm>
          <a:prstGeom prst="rect">
            <a:avLst/>
          </a:prstGeom>
          <a:solidFill>
            <a:schemeClr val="bg1"/>
          </a:solidFill>
          <a:ln w="76200">
            <a:noFill/>
          </a:ln>
          <a:effectLst>
            <a:outerShdw blurRad="381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080000" y="1440000"/>
            <a:ext cx="8640000" cy="432000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eaLnBrk="0" fontAlgn="base" hangingPunct="0">
              <a:spcBef>
                <a:spcPct val="0"/>
              </a:spcBef>
              <a:buClr>
                <a:srgbClr val="0366A7"/>
              </a:buClr>
              <a:tabLst>
                <a:tab pos="22225" algn="l"/>
              </a:tabLst>
              <a:defRPr/>
            </a:pPr>
            <a:r>
              <a:rPr lang="ru-RU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ыт разработки нормативных документов системы стандартизации РФ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15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8885679" y="1268760"/>
            <a:ext cx="3319988" cy="5589240"/>
          </a:xfrm>
          <a:custGeom>
            <a:avLst/>
            <a:gdLst>
              <a:gd name="connsiteX0" fmla="*/ 0 w 3312368"/>
              <a:gd name="connsiteY0" fmla="*/ 0 h 5589240"/>
              <a:gd name="connsiteX1" fmla="*/ 3312368 w 3312368"/>
              <a:gd name="connsiteY1" fmla="*/ 0 h 5589240"/>
              <a:gd name="connsiteX2" fmla="*/ 3312368 w 3312368"/>
              <a:gd name="connsiteY2" fmla="*/ 5589240 h 5589240"/>
              <a:gd name="connsiteX3" fmla="*/ 0 w 3312368"/>
              <a:gd name="connsiteY3" fmla="*/ 5589240 h 5589240"/>
              <a:gd name="connsiteX4" fmla="*/ 0 w 3312368"/>
              <a:gd name="connsiteY4" fmla="*/ 0 h 5589240"/>
              <a:gd name="connsiteX0" fmla="*/ 0 w 3319988"/>
              <a:gd name="connsiteY0" fmla="*/ 2461260 h 5589240"/>
              <a:gd name="connsiteX1" fmla="*/ 3319988 w 3319988"/>
              <a:gd name="connsiteY1" fmla="*/ 0 h 5589240"/>
              <a:gd name="connsiteX2" fmla="*/ 3319988 w 3319988"/>
              <a:gd name="connsiteY2" fmla="*/ 5589240 h 5589240"/>
              <a:gd name="connsiteX3" fmla="*/ 7620 w 3319988"/>
              <a:gd name="connsiteY3" fmla="*/ 5589240 h 5589240"/>
              <a:gd name="connsiteX4" fmla="*/ 0 w 3319988"/>
              <a:gd name="connsiteY4" fmla="*/ 2461260 h 5589240"/>
              <a:gd name="connsiteX0" fmla="*/ 0 w 3319988"/>
              <a:gd name="connsiteY0" fmla="*/ 2461260 h 5589240"/>
              <a:gd name="connsiteX1" fmla="*/ 3319988 w 3319988"/>
              <a:gd name="connsiteY1" fmla="*/ 0 h 5589240"/>
              <a:gd name="connsiteX2" fmla="*/ 3319988 w 3319988"/>
              <a:gd name="connsiteY2" fmla="*/ 5589240 h 5589240"/>
              <a:gd name="connsiteX3" fmla="*/ 1185631 w 3319988"/>
              <a:gd name="connsiteY3" fmla="*/ 5589240 h 5589240"/>
              <a:gd name="connsiteX4" fmla="*/ 0 w 3319988"/>
              <a:gd name="connsiteY4" fmla="*/ 2461260 h 5589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9988" h="5589240">
                <a:moveTo>
                  <a:pt x="0" y="2461260"/>
                </a:moveTo>
                <a:lnTo>
                  <a:pt x="3319988" y="0"/>
                </a:lnTo>
                <a:lnTo>
                  <a:pt x="3319988" y="5589240"/>
                </a:lnTo>
                <a:lnTo>
                  <a:pt x="1185631" y="5589240"/>
                </a:lnTo>
                <a:lnTo>
                  <a:pt x="0" y="2461260"/>
                </a:lnTo>
                <a:close/>
              </a:path>
            </a:pathLst>
          </a:cu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 rot="20309057">
            <a:off x="9316962" y="5946382"/>
            <a:ext cx="72008" cy="7200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83430" y="722812"/>
            <a:ext cx="67687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аучно-технический </a:t>
            </a:r>
            <a:r>
              <a:rPr lang="ru-RU" sz="2800" b="1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потенциал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080000" y="3600000"/>
            <a:ext cx="8640000" cy="432000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eaLnBrk="0" fontAlgn="base" hangingPunct="0">
              <a:spcBef>
                <a:spcPct val="0"/>
              </a:spcBef>
              <a:buClr>
                <a:srgbClr val="0366A7"/>
              </a:buClr>
              <a:tabLst>
                <a:tab pos="22225" algn="l"/>
              </a:tabLst>
              <a:defRPr/>
            </a:pPr>
            <a:r>
              <a:rPr lang="ru-RU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ыт участия в научно-исследовательских работах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080000" y="4680000"/>
            <a:ext cx="8640000" cy="432000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eaLnBrk="0" fontAlgn="base" hangingPunct="0">
              <a:spcBef>
                <a:spcPct val="0"/>
              </a:spcBef>
              <a:buClr>
                <a:srgbClr val="0366A7"/>
              </a:buClr>
              <a:tabLst>
                <a:tab pos="22225" algn="l"/>
              </a:tabLst>
              <a:defRPr/>
            </a:pPr>
            <a:r>
              <a:rPr lang="ru-RU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ыт проведения экспертизы проектных решений и формирования экспертных заключений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079999" y="5220000"/>
            <a:ext cx="8640000" cy="432000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eaLnBrk="0" fontAlgn="base" hangingPunct="0">
              <a:spcBef>
                <a:spcPct val="0"/>
              </a:spcBef>
              <a:buClr>
                <a:srgbClr val="0366A7"/>
              </a:buClr>
              <a:tabLst>
                <a:tab pos="22225" algn="l"/>
              </a:tabLst>
              <a:defRPr/>
            </a:pPr>
            <a:r>
              <a:rPr lang="ru-RU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ыт аттестации производств  заводов-изготовителей строительных конструкций и изделий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080000" y="3060000"/>
            <a:ext cx="8640000" cy="432000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eaLnBrk="0" fontAlgn="base" hangingPunct="0">
              <a:spcBef>
                <a:spcPct val="0"/>
              </a:spcBef>
              <a:buClr>
                <a:srgbClr val="0366A7"/>
              </a:buClr>
              <a:tabLst>
                <a:tab pos="22225" algn="l"/>
              </a:tabLst>
              <a:defRPr/>
            </a:pPr>
            <a:r>
              <a:rPr lang="ru-RU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нание российской и зарубежной нормативной базы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080000" y="1980000"/>
            <a:ext cx="8640000" cy="432000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eaLnBrk="0" fontAlgn="base" hangingPunct="0">
              <a:spcBef>
                <a:spcPct val="0"/>
              </a:spcBef>
              <a:buClr>
                <a:srgbClr val="0366A7"/>
              </a:buClr>
              <a:tabLst>
                <a:tab pos="22225" algn="l"/>
              </a:tabLst>
              <a:defRPr/>
            </a:pPr>
            <a:r>
              <a:rPr lang="ru-RU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ыт работы в составе технических комитетов по стандартизации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80000" y="5832000"/>
            <a:ext cx="8639999" cy="276999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eaLnBrk="0" fontAlgn="base" hangingPunct="0">
              <a:spcBef>
                <a:spcPct val="0"/>
              </a:spcBef>
              <a:buClr>
                <a:srgbClr val="0366A7"/>
              </a:buClr>
              <a:tabLst>
                <a:tab pos="22225" algn="l"/>
              </a:tabLst>
              <a:defRPr/>
            </a:pPr>
            <a:r>
              <a:rPr lang="ru-RU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ыт работы в рамках рабочих групп при Минэнерго РФ, </a:t>
            </a:r>
            <a:r>
              <a:rPr lang="ru-RU" sz="1200" dirty="0" err="1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остехнадзоре</a:t>
            </a:r>
            <a:r>
              <a:rPr lang="ru-RU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РФ</a:t>
            </a:r>
          </a:p>
        </p:txBody>
      </p:sp>
      <p:sp>
        <p:nvSpPr>
          <p:cNvPr id="33" name="Прямоугольник 32"/>
          <p:cNvSpPr/>
          <p:nvPr/>
        </p:nvSpPr>
        <p:spPr>
          <a:xfrm rot="3198105">
            <a:off x="10276350" y="2166201"/>
            <a:ext cx="72008" cy="7200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 rot="20309057">
            <a:off x="8904254" y="4853908"/>
            <a:ext cx="72008" cy="7200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9352836" y="3739042"/>
            <a:ext cx="2740117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defRPr/>
            </a:pPr>
            <a:r>
              <a:rPr lang="ru-RU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Специальные знания и квалификация</a:t>
            </a:r>
          </a:p>
        </p:txBody>
      </p:sp>
      <p:sp>
        <p:nvSpPr>
          <p:cNvPr id="32" name="Прямоугольник 31"/>
          <p:cNvSpPr/>
          <p:nvPr/>
        </p:nvSpPr>
        <p:spPr>
          <a:xfrm rot="3198105">
            <a:off x="9524414" y="2720750"/>
            <a:ext cx="72008" cy="7200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V="1">
            <a:off x="8417785" y="826314"/>
            <a:ext cx="3764690" cy="2769374"/>
          </a:xfrm>
          <a:prstGeom prst="line">
            <a:avLst/>
          </a:prstGeom>
          <a:ln w="381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 flipH="1" flipV="1">
            <a:off x="8425054" y="3573016"/>
            <a:ext cx="1271346" cy="3284984"/>
          </a:xfrm>
          <a:prstGeom prst="line">
            <a:avLst/>
          </a:prstGeom>
          <a:ln w="381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 rot="20309057">
            <a:off x="9105882" y="5391246"/>
            <a:ext cx="72008" cy="7200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 flipV="1">
            <a:off x="9389993" y="3181409"/>
            <a:ext cx="2831932" cy="9664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 flipV="1">
            <a:off x="9036338" y="3181409"/>
            <a:ext cx="269928" cy="1220215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 flipH="1" flipV="1">
            <a:off x="9136030" y="4731361"/>
            <a:ext cx="3249719" cy="2255785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1080000" y="4140000"/>
            <a:ext cx="8640000" cy="432000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eaLnBrk="0" fontAlgn="base" hangingPunct="0">
              <a:spcBef>
                <a:spcPct val="0"/>
              </a:spcBef>
              <a:buClr>
                <a:srgbClr val="0366A7"/>
              </a:buClr>
              <a:tabLst>
                <a:tab pos="22225" algn="l"/>
              </a:tabLst>
              <a:defRPr/>
            </a:pPr>
            <a:r>
              <a:rPr lang="ru-RU" sz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работанный архив и библиотека ВНИИСТ с 1948 года</a:t>
            </a:r>
          </a:p>
        </p:txBody>
      </p:sp>
      <p:sp>
        <p:nvSpPr>
          <p:cNvPr id="40" name="Прямоугольник 39"/>
          <p:cNvSpPr/>
          <p:nvPr/>
        </p:nvSpPr>
        <p:spPr>
          <a:xfrm rot="20309057">
            <a:off x="8693043" y="4318920"/>
            <a:ext cx="72008" cy="7200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 rot="3198105">
            <a:off x="8821215" y="3232503"/>
            <a:ext cx="72008" cy="7200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 rot="20309057">
            <a:off x="8486477" y="3774477"/>
            <a:ext cx="72008" cy="7200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1"/>
          <p:cNvSpPr>
            <a:spLocks noChangeArrowheads="1"/>
          </p:cNvSpPr>
          <p:nvPr/>
        </p:nvSpPr>
        <p:spPr bwMode="auto">
          <a:xfrm>
            <a:off x="1080000" y="2520000"/>
            <a:ext cx="8640000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1">
            <a:spAutoFit/>
          </a:bodyPr>
          <a:lstStyle>
            <a:lvl1pPr>
              <a:tabLst>
                <a:tab pos="222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222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222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222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222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22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22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22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22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buClr>
                <a:srgbClr val="0366A7"/>
              </a:buClr>
            </a:pPr>
            <a:r>
              <a:rPr lang="ru-RU" altLang="ru-RU" sz="1200" dirty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Опыт работы проведения </a:t>
            </a:r>
            <a:r>
              <a:rPr lang="ru-RU" altLang="ru-RU" sz="12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нормоконтроля</a:t>
            </a:r>
            <a:r>
              <a:rPr lang="ru-RU" altLang="ru-RU" sz="1200" dirty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 и издательского редактирования</a:t>
            </a:r>
          </a:p>
        </p:txBody>
      </p:sp>
      <p:sp>
        <p:nvSpPr>
          <p:cNvPr id="52" name="Прямоугольник 51"/>
          <p:cNvSpPr/>
          <p:nvPr/>
        </p:nvSpPr>
        <p:spPr>
          <a:xfrm rot="3198105">
            <a:off x="11016000" y="1620000"/>
            <a:ext cx="72008" cy="7200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83199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Прямоугольник 56"/>
          <p:cNvSpPr/>
          <p:nvPr/>
        </p:nvSpPr>
        <p:spPr>
          <a:xfrm>
            <a:off x="3809100" y="2693913"/>
            <a:ext cx="8119548" cy="1449268"/>
          </a:xfrm>
          <a:prstGeom prst="rect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225A9C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3809100" y="3762294"/>
            <a:ext cx="8119548" cy="1449268"/>
          </a:xfrm>
          <a:prstGeom prst="rect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225A9C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457574" y="4860052"/>
            <a:ext cx="8471074" cy="1449268"/>
          </a:xfrm>
          <a:prstGeom prst="rect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C9DCF2"/>
                </a:solidFill>
              </a:rPr>
              <a:t>с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3457575" y="1274165"/>
            <a:ext cx="8471073" cy="1484887"/>
          </a:xfrm>
          <a:prstGeom prst="rect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464815" y="4813187"/>
            <a:ext cx="1056694" cy="112184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464815" y="2612431"/>
            <a:ext cx="1056694" cy="112184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21"/>
          <p:cNvSpPr/>
          <p:nvPr/>
        </p:nvSpPr>
        <p:spPr>
          <a:xfrm rot="8107091">
            <a:off x="1536792" y="4538022"/>
            <a:ext cx="766727" cy="389429"/>
          </a:xfrm>
          <a:custGeom>
            <a:avLst/>
            <a:gdLst>
              <a:gd name="connsiteX0" fmla="*/ 0 w 865598"/>
              <a:gd name="connsiteY0" fmla="*/ 0 h 627970"/>
              <a:gd name="connsiteX1" fmla="*/ 865598 w 865598"/>
              <a:gd name="connsiteY1" fmla="*/ 0 h 627970"/>
              <a:gd name="connsiteX2" fmla="*/ 865598 w 865598"/>
              <a:gd name="connsiteY2" fmla="*/ 627970 h 627970"/>
              <a:gd name="connsiteX3" fmla="*/ 0 w 865598"/>
              <a:gd name="connsiteY3" fmla="*/ 627970 h 627970"/>
              <a:gd name="connsiteX4" fmla="*/ 0 w 865598"/>
              <a:gd name="connsiteY4" fmla="*/ 0 h 627970"/>
              <a:gd name="connsiteX0" fmla="*/ 0 w 865598"/>
              <a:gd name="connsiteY0" fmla="*/ 0 h 627970"/>
              <a:gd name="connsiteX1" fmla="*/ 865598 w 865598"/>
              <a:gd name="connsiteY1" fmla="*/ 0 h 627970"/>
              <a:gd name="connsiteX2" fmla="*/ 865598 w 865598"/>
              <a:gd name="connsiteY2" fmla="*/ 627970 h 627970"/>
              <a:gd name="connsiteX3" fmla="*/ 4762 w 865598"/>
              <a:gd name="connsiteY3" fmla="*/ 396989 h 627970"/>
              <a:gd name="connsiteX4" fmla="*/ 0 w 865598"/>
              <a:gd name="connsiteY4" fmla="*/ 0 h 627970"/>
              <a:gd name="connsiteX0" fmla="*/ 0 w 865598"/>
              <a:gd name="connsiteY0" fmla="*/ 0 h 632732"/>
              <a:gd name="connsiteX1" fmla="*/ 865598 w 865598"/>
              <a:gd name="connsiteY1" fmla="*/ 0 h 632732"/>
              <a:gd name="connsiteX2" fmla="*/ 582229 w 865598"/>
              <a:gd name="connsiteY2" fmla="*/ 632732 h 632732"/>
              <a:gd name="connsiteX3" fmla="*/ 4762 w 865598"/>
              <a:gd name="connsiteY3" fmla="*/ 396989 h 632732"/>
              <a:gd name="connsiteX4" fmla="*/ 0 w 865598"/>
              <a:gd name="connsiteY4" fmla="*/ 0 h 632732"/>
              <a:gd name="connsiteX0" fmla="*/ 0 w 870361"/>
              <a:gd name="connsiteY0" fmla="*/ 0 h 632732"/>
              <a:gd name="connsiteX1" fmla="*/ 870361 w 870361"/>
              <a:gd name="connsiteY1" fmla="*/ 359569 h 632732"/>
              <a:gd name="connsiteX2" fmla="*/ 582229 w 870361"/>
              <a:gd name="connsiteY2" fmla="*/ 632732 h 632732"/>
              <a:gd name="connsiteX3" fmla="*/ 4762 w 870361"/>
              <a:gd name="connsiteY3" fmla="*/ 396989 h 632732"/>
              <a:gd name="connsiteX4" fmla="*/ 0 w 870361"/>
              <a:gd name="connsiteY4" fmla="*/ 0 h 632732"/>
              <a:gd name="connsiteX0" fmla="*/ 0 w 863217"/>
              <a:gd name="connsiteY0" fmla="*/ 0 h 632732"/>
              <a:gd name="connsiteX1" fmla="*/ 863217 w 863217"/>
              <a:gd name="connsiteY1" fmla="*/ 350044 h 632732"/>
              <a:gd name="connsiteX2" fmla="*/ 582229 w 863217"/>
              <a:gd name="connsiteY2" fmla="*/ 632732 h 632732"/>
              <a:gd name="connsiteX3" fmla="*/ 4762 w 863217"/>
              <a:gd name="connsiteY3" fmla="*/ 396989 h 632732"/>
              <a:gd name="connsiteX4" fmla="*/ 0 w 863217"/>
              <a:gd name="connsiteY4" fmla="*/ 0 h 632732"/>
              <a:gd name="connsiteX0" fmla="*/ 0 w 867979"/>
              <a:gd name="connsiteY0" fmla="*/ 0 h 632732"/>
              <a:gd name="connsiteX1" fmla="*/ 867979 w 867979"/>
              <a:gd name="connsiteY1" fmla="*/ 361951 h 632732"/>
              <a:gd name="connsiteX2" fmla="*/ 582229 w 867979"/>
              <a:gd name="connsiteY2" fmla="*/ 632732 h 632732"/>
              <a:gd name="connsiteX3" fmla="*/ 4762 w 867979"/>
              <a:gd name="connsiteY3" fmla="*/ 396989 h 632732"/>
              <a:gd name="connsiteX4" fmla="*/ 0 w 867979"/>
              <a:gd name="connsiteY4" fmla="*/ 0 h 632732"/>
              <a:gd name="connsiteX0" fmla="*/ 0 w 867979"/>
              <a:gd name="connsiteY0" fmla="*/ 0 h 642257"/>
              <a:gd name="connsiteX1" fmla="*/ 867979 w 867979"/>
              <a:gd name="connsiteY1" fmla="*/ 361951 h 642257"/>
              <a:gd name="connsiteX2" fmla="*/ 594135 w 867979"/>
              <a:gd name="connsiteY2" fmla="*/ 642257 h 642257"/>
              <a:gd name="connsiteX3" fmla="*/ 4762 w 867979"/>
              <a:gd name="connsiteY3" fmla="*/ 396989 h 642257"/>
              <a:gd name="connsiteX4" fmla="*/ 0 w 867979"/>
              <a:gd name="connsiteY4" fmla="*/ 0 h 642257"/>
              <a:gd name="connsiteX0" fmla="*/ 0 w 867979"/>
              <a:gd name="connsiteY0" fmla="*/ 0 h 637494"/>
              <a:gd name="connsiteX1" fmla="*/ 867979 w 867979"/>
              <a:gd name="connsiteY1" fmla="*/ 361951 h 637494"/>
              <a:gd name="connsiteX2" fmla="*/ 591754 w 867979"/>
              <a:gd name="connsiteY2" fmla="*/ 637494 h 637494"/>
              <a:gd name="connsiteX3" fmla="*/ 4762 w 867979"/>
              <a:gd name="connsiteY3" fmla="*/ 396989 h 637494"/>
              <a:gd name="connsiteX4" fmla="*/ 0 w 867979"/>
              <a:gd name="connsiteY4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458 w 868438"/>
              <a:gd name="connsiteY3" fmla="*/ 392227 h 637494"/>
              <a:gd name="connsiteX4" fmla="*/ 459 w 868438"/>
              <a:gd name="connsiteY4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193875 w 868438"/>
              <a:gd name="connsiteY3" fmla="*/ 472048 h 637494"/>
              <a:gd name="connsiteX4" fmla="*/ 458 w 868438"/>
              <a:gd name="connsiteY4" fmla="*/ 392227 h 637494"/>
              <a:gd name="connsiteX5" fmla="*/ 459 w 868438"/>
              <a:gd name="connsiteY5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74813 w 868438"/>
              <a:gd name="connsiteY3" fmla="*/ 398230 h 637494"/>
              <a:gd name="connsiteX4" fmla="*/ 458 w 868438"/>
              <a:gd name="connsiteY4" fmla="*/ 392227 h 637494"/>
              <a:gd name="connsiteX5" fmla="*/ 459 w 868438"/>
              <a:gd name="connsiteY5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293888 w 868438"/>
              <a:gd name="connsiteY3" fmla="*/ 495860 h 637494"/>
              <a:gd name="connsiteX4" fmla="*/ 74813 w 868438"/>
              <a:gd name="connsiteY4" fmla="*/ 398230 h 637494"/>
              <a:gd name="connsiteX5" fmla="*/ 458 w 868438"/>
              <a:gd name="connsiteY5" fmla="*/ 392227 h 637494"/>
              <a:gd name="connsiteX6" fmla="*/ 459 w 868438"/>
              <a:gd name="connsiteY6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131963 w 868438"/>
              <a:gd name="connsiteY3" fmla="*/ 405373 h 637494"/>
              <a:gd name="connsiteX4" fmla="*/ 74813 w 868438"/>
              <a:gd name="connsiteY4" fmla="*/ 398230 h 637494"/>
              <a:gd name="connsiteX5" fmla="*/ 458 w 868438"/>
              <a:gd name="connsiteY5" fmla="*/ 392227 h 637494"/>
              <a:gd name="connsiteX6" fmla="*/ 459 w 868438"/>
              <a:gd name="connsiteY6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343894 w 868438"/>
              <a:gd name="connsiteY3" fmla="*/ 517291 h 637494"/>
              <a:gd name="connsiteX4" fmla="*/ 131963 w 868438"/>
              <a:gd name="connsiteY4" fmla="*/ 405373 h 637494"/>
              <a:gd name="connsiteX5" fmla="*/ 74813 w 868438"/>
              <a:gd name="connsiteY5" fmla="*/ 398230 h 637494"/>
              <a:gd name="connsiteX6" fmla="*/ 458 w 868438"/>
              <a:gd name="connsiteY6" fmla="*/ 392227 h 637494"/>
              <a:gd name="connsiteX7" fmla="*/ 459 w 868438"/>
              <a:gd name="connsiteY7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201019 w 868438"/>
              <a:gd name="connsiteY3" fmla="*/ 419659 h 637494"/>
              <a:gd name="connsiteX4" fmla="*/ 131963 w 868438"/>
              <a:gd name="connsiteY4" fmla="*/ 405373 h 637494"/>
              <a:gd name="connsiteX5" fmla="*/ 74813 w 868438"/>
              <a:gd name="connsiteY5" fmla="*/ 398230 h 637494"/>
              <a:gd name="connsiteX6" fmla="*/ 458 w 868438"/>
              <a:gd name="connsiteY6" fmla="*/ 392227 h 637494"/>
              <a:gd name="connsiteX7" fmla="*/ 459 w 868438"/>
              <a:gd name="connsiteY7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334369 w 868438"/>
              <a:gd name="connsiteY3" fmla="*/ 467285 h 637494"/>
              <a:gd name="connsiteX4" fmla="*/ 201019 w 868438"/>
              <a:gd name="connsiteY4" fmla="*/ 419659 h 637494"/>
              <a:gd name="connsiteX5" fmla="*/ 131963 w 868438"/>
              <a:gd name="connsiteY5" fmla="*/ 405373 h 637494"/>
              <a:gd name="connsiteX6" fmla="*/ 74813 w 868438"/>
              <a:gd name="connsiteY6" fmla="*/ 398230 h 637494"/>
              <a:gd name="connsiteX7" fmla="*/ 458 w 868438"/>
              <a:gd name="connsiteY7" fmla="*/ 392227 h 637494"/>
              <a:gd name="connsiteX8" fmla="*/ 459 w 868438"/>
              <a:gd name="connsiteY8" fmla="*/ 0 h 637494"/>
              <a:gd name="connsiteX0" fmla="*/ 459 w 868438"/>
              <a:gd name="connsiteY0" fmla="*/ 0 h 642205"/>
              <a:gd name="connsiteX1" fmla="*/ 868438 w 868438"/>
              <a:gd name="connsiteY1" fmla="*/ 361951 h 642205"/>
              <a:gd name="connsiteX2" fmla="*/ 592213 w 868438"/>
              <a:gd name="connsiteY2" fmla="*/ 637494 h 642205"/>
              <a:gd name="connsiteX3" fmla="*/ 451050 w 868438"/>
              <a:gd name="connsiteY3" fmla="*/ 524435 h 642205"/>
              <a:gd name="connsiteX4" fmla="*/ 334369 w 868438"/>
              <a:gd name="connsiteY4" fmla="*/ 467285 h 642205"/>
              <a:gd name="connsiteX5" fmla="*/ 201019 w 868438"/>
              <a:gd name="connsiteY5" fmla="*/ 419659 h 642205"/>
              <a:gd name="connsiteX6" fmla="*/ 131963 w 868438"/>
              <a:gd name="connsiteY6" fmla="*/ 405373 h 642205"/>
              <a:gd name="connsiteX7" fmla="*/ 74813 w 868438"/>
              <a:gd name="connsiteY7" fmla="*/ 398230 h 642205"/>
              <a:gd name="connsiteX8" fmla="*/ 458 w 868438"/>
              <a:gd name="connsiteY8" fmla="*/ 392227 h 642205"/>
              <a:gd name="connsiteX9" fmla="*/ 459 w 868438"/>
              <a:gd name="connsiteY9" fmla="*/ 0 h 642205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451050 w 868438"/>
              <a:gd name="connsiteY3" fmla="*/ 524435 h 637494"/>
              <a:gd name="connsiteX4" fmla="*/ 334369 w 868438"/>
              <a:gd name="connsiteY4" fmla="*/ 467285 h 637494"/>
              <a:gd name="connsiteX5" fmla="*/ 201019 w 868438"/>
              <a:gd name="connsiteY5" fmla="*/ 419659 h 637494"/>
              <a:gd name="connsiteX6" fmla="*/ 131963 w 868438"/>
              <a:gd name="connsiteY6" fmla="*/ 405373 h 637494"/>
              <a:gd name="connsiteX7" fmla="*/ 74813 w 868438"/>
              <a:gd name="connsiteY7" fmla="*/ 398230 h 637494"/>
              <a:gd name="connsiteX8" fmla="*/ 458 w 868438"/>
              <a:gd name="connsiteY8" fmla="*/ 392227 h 637494"/>
              <a:gd name="connsiteX9" fmla="*/ 459 w 868438"/>
              <a:gd name="connsiteY9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51050 w 868438"/>
              <a:gd name="connsiteY4" fmla="*/ 524435 h 637494"/>
              <a:gd name="connsiteX5" fmla="*/ 334369 w 868438"/>
              <a:gd name="connsiteY5" fmla="*/ 467285 h 637494"/>
              <a:gd name="connsiteX6" fmla="*/ 201019 w 868438"/>
              <a:gd name="connsiteY6" fmla="*/ 419659 h 637494"/>
              <a:gd name="connsiteX7" fmla="*/ 131963 w 868438"/>
              <a:gd name="connsiteY7" fmla="*/ 405373 h 637494"/>
              <a:gd name="connsiteX8" fmla="*/ 74813 w 868438"/>
              <a:gd name="connsiteY8" fmla="*/ 398230 h 637494"/>
              <a:gd name="connsiteX9" fmla="*/ 458 w 868438"/>
              <a:gd name="connsiteY9" fmla="*/ 392227 h 637494"/>
              <a:gd name="connsiteX10" fmla="*/ 459 w 868438"/>
              <a:gd name="connsiteY10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51050 w 868438"/>
              <a:gd name="connsiteY4" fmla="*/ 524435 h 637494"/>
              <a:gd name="connsiteX5" fmla="*/ 386757 w 868438"/>
              <a:gd name="connsiteY5" fmla="*/ 493479 h 637494"/>
              <a:gd name="connsiteX6" fmla="*/ 334369 w 868438"/>
              <a:gd name="connsiteY6" fmla="*/ 467285 h 637494"/>
              <a:gd name="connsiteX7" fmla="*/ 201019 w 868438"/>
              <a:gd name="connsiteY7" fmla="*/ 419659 h 637494"/>
              <a:gd name="connsiteX8" fmla="*/ 131963 w 868438"/>
              <a:gd name="connsiteY8" fmla="*/ 405373 h 637494"/>
              <a:gd name="connsiteX9" fmla="*/ 74813 w 868438"/>
              <a:gd name="connsiteY9" fmla="*/ 398230 h 637494"/>
              <a:gd name="connsiteX10" fmla="*/ 458 w 868438"/>
              <a:gd name="connsiteY10" fmla="*/ 392227 h 637494"/>
              <a:gd name="connsiteX11" fmla="*/ 459 w 868438"/>
              <a:gd name="connsiteY11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51050 w 868438"/>
              <a:gd name="connsiteY4" fmla="*/ 524435 h 637494"/>
              <a:gd name="connsiteX5" fmla="*/ 386757 w 868438"/>
              <a:gd name="connsiteY5" fmla="*/ 493479 h 637494"/>
              <a:gd name="connsiteX6" fmla="*/ 334369 w 868438"/>
              <a:gd name="connsiteY6" fmla="*/ 467285 h 637494"/>
              <a:gd name="connsiteX7" fmla="*/ 267694 w 868438"/>
              <a:gd name="connsiteY7" fmla="*/ 441091 h 637494"/>
              <a:gd name="connsiteX8" fmla="*/ 201019 w 868438"/>
              <a:gd name="connsiteY8" fmla="*/ 419659 h 637494"/>
              <a:gd name="connsiteX9" fmla="*/ 131963 w 868438"/>
              <a:gd name="connsiteY9" fmla="*/ 405373 h 637494"/>
              <a:gd name="connsiteX10" fmla="*/ 74813 w 868438"/>
              <a:gd name="connsiteY10" fmla="*/ 398230 h 637494"/>
              <a:gd name="connsiteX11" fmla="*/ 458 w 868438"/>
              <a:gd name="connsiteY11" fmla="*/ 392227 h 637494"/>
              <a:gd name="connsiteX12" fmla="*/ 459 w 868438"/>
              <a:gd name="connsiteY12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48669 w 868438"/>
              <a:gd name="connsiteY4" fmla="*/ 529197 h 637494"/>
              <a:gd name="connsiteX5" fmla="*/ 386757 w 868438"/>
              <a:gd name="connsiteY5" fmla="*/ 493479 h 637494"/>
              <a:gd name="connsiteX6" fmla="*/ 334369 w 868438"/>
              <a:gd name="connsiteY6" fmla="*/ 467285 h 637494"/>
              <a:gd name="connsiteX7" fmla="*/ 267694 w 868438"/>
              <a:gd name="connsiteY7" fmla="*/ 441091 h 637494"/>
              <a:gd name="connsiteX8" fmla="*/ 201019 w 868438"/>
              <a:gd name="connsiteY8" fmla="*/ 419659 h 637494"/>
              <a:gd name="connsiteX9" fmla="*/ 131963 w 868438"/>
              <a:gd name="connsiteY9" fmla="*/ 405373 h 637494"/>
              <a:gd name="connsiteX10" fmla="*/ 74813 w 868438"/>
              <a:gd name="connsiteY10" fmla="*/ 398230 h 637494"/>
              <a:gd name="connsiteX11" fmla="*/ 458 w 868438"/>
              <a:gd name="connsiteY11" fmla="*/ 392227 h 637494"/>
              <a:gd name="connsiteX12" fmla="*/ 459 w 868438"/>
              <a:gd name="connsiteY1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868438 w 868438"/>
              <a:gd name="connsiteY2" fmla="*/ 361951 h 637494"/>
              <a:gd name="connsiteX3" fmla="*/ 592213 w 868438"/>
              <a:gd name="connsiteY3" fmla="*/ 637494 h 637494"/>
              <a:gd name="connsiteX4" fmla="*/ 522488 w 868438"/>
              <a:gd name="connsiteY4" fmla="*/ 581585 h 637494"/>
              <a:gd name="connsiteX5" fmla="*/ 448669 w 868438"/>
              <a:gd name="connsiteY5" fmla="*/ 529197 h 637494"/>
              <a:gd name="connsiteX6" fmla="*/ 386757 w 868438"/>
              <a:gd name="connsiteY6" fmla="*/ 493479 h 637494"/>
              <a:gd name="connsiteX7" fmla="*/ 334369 w 868438"/>
              <a:gd name="connsiteY7" fmla="*/ 467285 h 637494"/>
              <a:gd name="connsiteX8" fmla="*/ 267694 w 868438"/>
              <a:gd name="connsiteY8" fmla="*/ 441091 h 637494"/>
              <a:gd name="connsiteX9" fmla="*/ 201019 w 868438"/>
              <a:gd name="connsiteY9" fmla="*/ 419659 h 637494"/>
              <a:gd name="connsiteX10" fmla="*/ 131963 w 868438"/>
              <a:gd name="connsiteY10" fmla="*/ 405373 h 637494"/>
              <a:gd name="connsiteX11" fmla="*/ 74813 w 868438"/>
              <a:gd name="connsiteY11" fmla="*/ 398230 h 637494"/>
              <a:gd name="connsiteX12" fmla="*/ 458 w 868438"/>
              <a:gd name="connsiteY12" fmla="*/ 392227 h 637494"/>
              <a:gd name="connsiteX13" fmla="*/ 459 w 868438"/>
              <a:gd name="connsiteY13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868438 w 868438"/>
              <a:gd name="connsiteY3" fmla="*/ 361951 h 637494"/>
              <a:gd name="connsiteX4" fmla="*/ 592213 w 868438"/>
              <a:gd name="connsiteY4" fmla="*/ 637494 h 637494"/>
              <a:gd name="connsiteX5" fmla="*/ 522488 w 868438"/>
              <a:gd name="connsiteY5" fmla="*/ 581585 h 637494"/>
              <a:gd name="connsiteX6" fmla="*/ 448669 w 868438"/>
              <a:gd name="connsiteY6" fmla="*/ 529197 h 637494"/>
              <a:gd name="connsiteX7" fmla="*/ 386757 w 868438"/>
              <a:gd name="connsiteY7" fmla="*/ 493479 h 637494"/>
              <a:gd name="connsiteX8" fmla="*/ 334369 w 868438"/>
              <a:gd name="connsiteY8" fmla="*/ 467285 h 637494"/>
              <a:gd name="connsiteX9" fmla="*/ 267694 w 868438"/>
              <a:gd name="connsiteY9" fmla="*/ 441091 h 637494"/>
              <a:gd name="connsiteX10" fmla="*/ 201019 w 868438"/>
              <a:gd name="connsiteY10" fmla="*/ 419659 h 637494"/>
              <a:gd name="connsiteX11" fmla="*/ 131963 w 868438"/>
              <a:gd name="connsiteY11" fmla="*/ 405373 h 637494"/>
              <a:gd name="connsiteX12" fmla="*/ 74813 w 868438"/>
              <a:gd name="connsiteY12" fmla="*/ 398230 h 637494"/>
              <a:gd name="connsiteX13" fmla="*/ 458 w 868438"/>
              <a:gd name="connsiteY13" fmla="*/ 392227 h 637494"/>
              <a:gd name="connsiteX14" fmla="*/ 459 w 868438"/>
              <a:gd name="connsiteY14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868438 w 868438"/>
              <a:gd name="connsiteY5" fmla="*/ 361951 h 637494"/>
              <a:gd name="connsiteX6" fmla="*/ 592213 w 868438"/>
              <a:gd name="connsiteY6" fmla="*/ 637494 h 637494"/>
              <a:gd name="connsiteX7" fmla="*/ 522488 w 868438"/>
              <a:gd name="connsiteY7" fmla="*/ 581585 h 637494"/>
              <a:gd name="connsiteX8" fmla="*/ 448669 w 868438"/>
              <a:gd name="connsiteY8" fmla="*/ 529197 h 637494"/>
              <a:gd name="connsiteX9" fmla="*/ 386757 w 868438"/>
              <a:gd name="connsiteY9" fmla="*/ 493479 h 637494"/>
              <a:gd name="connsiteX10" fmla="*/ 334369 w 868438"/>
              <a:gd name="connsiteY10" fmla="*/ 467285 h 637494"/>
              <a:gd name="connsiteX11" fmla="*/ 267694 w 868438"/>
              <a:gd name="connsiteY11" fmla="*/ 441091 h 637494"/>
              <a:gd name="connsiteX12" fmla="*/ 201019 w 868438"/>
              <a:gd name="connsiteY12" fmla="*/ 419659 h 637494"/>
              <a:gd name="connsiteX13" fmla="*/ 131963 w 868438"/>
              <a:gd name="connsiteY13" fmla="*/ 405373 h 637494"/>
              <a:gd name="connsiteX14" fmla="*/ 74813 w 868438"/>
              <a:gd name="connsiteY14" fmla="*/ 398230 h 637494"/>
              <a:gd name="connsiteX15" fmla="*/ 458 w 868438"/>
              <a:gd name="connsiteY15" fmla="*/ 392227 h 637494"/>
              <a:gd name="connsiteX16" fmla="*/ 459 w 868438"/>
              <a:gd name="connsiteY16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868438 w 868438"/>
              <a:gd name="connsiteY6" fmla="*/ 361951 h 637494"/>
              <a:gd name="connsiteX7" fmla="*/ 592213 w 868438"/>
              <a:gd name="connsiteY7" fmla="*/ 637494 h 637494"/>
              <a:gd name="connsiteX8" fmla="*/ 522488 w 868438"/>
              <a:gd name="connsiteY8" fmla="*/ 581585 h 637494"/>
              <a:gd name="connsiteX9" fmla="*/ 448669 w 868438"/>
              <a:gd name="connsiteY9" fmla="*/ 529197 h 637494"/>
              <a:gd name="connsiteX10" fmla="*/ 386757 w 868438"/>
              <a:gd name="connsiteY10" fmla="*/ 493479 h 637494"/>
              <a:gd name="connsiteX11" fmla="*/ 334369 w 868438"/>
              <a:gd name="connsiteY11" fmla="*/ 467285 h 637494"/>
              <a:gd name="connsiteX12" fmla="*/ 267694 w 868438"/>
              <a:gd name="connsiteY12" fmla="*/ 441091 h 637494"/>
              <a:gd name="connsiteX13" fmla="*/ 201019 w 868438"/>
              <a:gd name="connsiteY13" fmla="*/ 419659 h 637494"/>
              <a:gd name="connsiteX14" fmla="*/ 131963 w 868438"/>
              <a:gd name="connsiteY14" fmla="*/ 405373 h 637494"/>
              <a:gd name="connsiteX15" fmla="*/ 74813 w 868438"/>
              <a:gd name="connsiteY15" fmla="*/ 398230 h 637494"/>
              <a:gd name="connsiteX16" fmla="*/ 458 w 868438"/>
              <a:gd name="connsiteY16" fmla="*/ 392227 h 637494"/>
              <a:gd name="connsiteX17" fmla="*/ 459 w 868438"/>
              <a:gd name="connsiteY17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868438 w 868438"/>
              <a:gd name="connsiteY7" fmla="*/ 361951 h 637494"/>
              <a:gd name="connsiteX8" fmla="*/ 592213 w 868438"/>
              <a:gd name="connsiteY8" fmla="*/ 637494 h 637494"/>
              <a:gd name="connsiteX9" fmla="*/ 522488 w 868438"/>
              <a:gd name="connsiteY9" fmla="*/ 581585 h 637494"/>
              <a:gd name="connsiteX10" fmla="*/ 448669 w 868438"/>
              <a:gd name="connsiteY10" fmla="*/ 529197 h 637494"/>
              <a:gd name="connsiteX11" fmla="*/ 386757 w 868438"/>
              <a:gd name="connsiteY11" fmla="*/ 493479 h 637494"/>
              <a:gd name="connsiteX12" fmla="*/ 334369 w 868438"/>
              <a:gd name="connsiteY12" fmla="*/ 467285 h 637494"/>
              <a:gd name="connsiteX13" fmla="*/ 267694 w 868438"/>
              <a:gd name="connsiteY13" fmla="*/ 441091 h 637494"/>
              <a:gd name="connsiteX14" fmla="*/ 201019 w 868438"/>
              <a:gd name="connsiteY14" fmla="*/ 419659 h 637494"/>
              <a:gd name="connsiteX15" fmla="*/ 131963 w 868438"/>
              <a:gd name="connsiteY15" fmla="*/ 405373 h 637494"/>
              <a:gd name="connsiteX16" fmla="*/ 74813 w 868438"/>
              <a:gd name="connsiteY16" fmla="*/ 398230 h 637494"/>
              <a:gd name="connsiteX17" fmla="*/ 458 w 868438"/>
              <a:gd name="connsiteY17" fmla="*/ 392227 h 637494"/>
              <a:gd name="connsiteX18" fmla="*/ 459 w 868438"/>
              <a:gd name="connsiteY18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868438 w 868438"/>
              <a:gd name="connsiteY8" fmla="*/ 361951 h 637494"/>
              <a:gd name="connsiteX9" fmla="*/ 592213 w 868438"/>
              <a:gd name="connsiteY9" fmla="*/ 637494 h 637494"/>
              <a:gd name="connsiteX10" fmla="*/ 522488 w 868438"/>
              <a:gd name="connsiteY10" fmla="*/ 581585 h 637494"/>
              <a:gd name="connsiteX11" fmla="*/ 448669 w 868438"/>
              <a:gd name="connsiteY11" fmla="*/ 529197 h 637494"/>
              <a:gd name="connsiteX12" fmla="*/ 386757 w 868438"/>
              <a:gd name="connsiteY12" fmla="*/ 493479 h 637494"/>
              <a:gd name="connsiteX13" fmla="*/ 334369 w 868438"/>
              <a:gd name="connsiteY13" fmla="*/ 467285 h 637494"/>
              <a:gd name="connsiteX14" fmla="*/ 267694 w 868438"/>
              <a:gd name="connsiteY14" fmla="*/ 441091 h 637494"/>
              <a:gd name="connsiteX15" fmla="*/ 201019 w 868438"/>
              <a:gd name="connsiteY15" fmla="*/ 419659 h 637494"/>
              <a:gd name="connsiteX16" fmla="*/ 131963 w 868438"/>
              <a:gd name="connsiteY16" fmla="*/ 405373 h 637494"/>
              <a:gd name="connsiteX17" fmla="*/ 74813 w 868438"/>
              <a:gd name="connsiteY17" fmla="*/ 398230 h 637494"/>
              <a:gd name="connsiteX18" fmla="*/ 458 w 868438"/>
              <a:gd name="connsiteY18" fmla="*/ 392227 h 637494"/>
              <a:gd name="connsiteX19" fmla="*/ 459 w 868438"/>
              <a:gd name="connsiteY19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868438 w 868438"/>
              <a:gd name="connsiteY9" fmla="*/ 361951 h 637494"/>
              <a:gd name="connsiteX10" fmla="*/ 592213 w 868438"/>
              <a:gd name="connsiteY10" fmla="*/ 637494 h 637494"/>
              <a:gd name="connsiteX11" fmla="*/ 522488 w 868438"/>
              <a:gd name="connsiteY11" fmla="*/ 581585 h 637494"/>
              <a:gd name="connsiteX12" fmla="*/ 448669 w 868438"/>
              <a:gd name="connsiteY12" fmla="*/ 529197 h 637494"/>
              <a:gd name="connsiteX13" fmla="*/ 386757 w 868438"/>
              <a:gd name="connsiteY13" fmla="*/ 493479 h 637494"/>
              <a:gd name="connsiteX14" fmla="*/ 334369 w 868438"/>
              <a:gd name="connsiteY14" fmla="*/ 467285 h 637494"/>
              <a:gd name="connsiteX15" fmla="*/ 267694 w 868438"/>
              <a:gd name="connsiteY15" fmla="*/ 441091 h 637494"/>
              <a:gd name="connsiteX16" fmla="*/ 201019 w 868438"/>
              <a:gd name="connsiteY16" fmla="*/ 419659 h 637494"/>
              <a:gd name="connsiteX17" fmla="*/ 131963 w 868438"/>
              <a:gd name="connsiteY17" fmla="*/ 405373 h 637494"/>
              <a:gd name="connsiteX18" fmla="*/ 74813 w 868438"/>
              <a:gd name="connsiteY18" fmla="*/ 398230 h 637494"/>
              <a:gd name="connsiteX19" fmla="*/ 458 w 868438"/>
              <a:gd name="connsiteY19" fmla="*/ 392227 h 637494"/>
              <a:gd name="connsiteX20" fmla="*/ 459 w 868438"/>
              <a:gd name="connsiteY20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868438 w 868438"/>
              <a:gd name="connsiteY10" fmla="*/ 361951 h 637494"/>
              <a:gd name="connsiteX11" fmla="*/ 592213 w 868438"/>
              <a:gd name="connsiteY11" fmla="*/ 637494 h 637494"/>
              <a:gd name="connsiteX12" fmla="*/ 522488 w 868438"/>
              <a:gd name="connsiteY12" fmla="*/ 581585 h 637494"/>
              <a:gd name="connsiteX13" fmla="*/ 448669 w 868438"/>
              <a:gd name="connsiteY13" fmla="*/ 529197 h 637494"/>
              <a:gd name="connsiteX14" fmla="*/ 386757 w 868438"/>
              <a:gd name="connsiteY14" fmla="*/ 493479 h 637494"/>
              <a:gd name="connsiteX15" fmla="*/ 334369 w 868438"/>
              <a:gd name="connsiteY15" fmla="*/ 467285 h 637494"/>
              <a:gd name="connsiteX16" fmla="*/ 267694 w 868438"/>
              <a:gd name="connsiteY16" fmla="*/ 441091 h 637494"/>
              <a:gd name="connsiteX17" fmla="*/ 201019 w 868438"/>
              <a:gd name="connsiteY17" fmla="*/ 419659 h 637494"/>
              <a:gd name="connsiteX18" fmla="*/ 131963 w 868438"/>
              <a:gd name="connsiteY18" fmla="*/ 405373 h 637494"/>
              <a:gd name="connsiteX19" fmla="*/ 74813 w 868438"/>
              <a:gd name="connsiteY19" fmla="*/ 398230 h 637494"/>
              <a:gd name="connsiteX20" fmla="*/ 458 w 868438"/>
              <a:gd name="connsiteY20" fmla="*/ 392227 h 637494"/>
              <a:gd name="connsiteX21" fmla="*/ 459 w 868438"/>
              <a:gd name="connsiteY21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5332 w 868438"/>
              <a:gd name="connsiteY6" fmla="*/ 79141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5332 w 868438"/>
              <a:gd name="connsiteY6" fmla="*/ 79141 h 637494"/>
              <a:gd name="connsiteX7" fmla="*/ 477244 w 868438"/>
              <a:gd name="connsiteY7" fmla="*/ 98191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46301 w 868438"/>
              <a:gd name="connsiteY8" fmla="*/ 136291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3444 w 868438"/>
              <a:gd name="connsiteY8" fmla="*/ 126766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3444 w 868438"/>
              <a:gd name="connsiteY8" fmla="*/ 126766 h 637494"/>
              <a:gd name="connsiteX9" fmla="*/ 636788 w 868438"/>
              <a:gd name="connsiteY9" fmla="*/ 179154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6788 w 868438"/>
              <a:gd name="connsiteY9" fmla="*/ 179154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6788 w 868438"/>
              <a:gd name="connsiteY9" fmla="*/ 179154 h 637494"/>
              <a:gd name="connsiteX10" fmla="*/ 753469 w 868438"/>
              <a:gd name="connsiteY10" fmla="*/ 252973 h 637494"/>
              <a:gd name="connsiteX11" fmla="*/ 810619 w 868438"/>
              <a:gd name="connsiteY11" fmla="*/ 307741 h 637494"/>
              <a:gd name="connsiteX12" fmla="*/ 868438 w 868438"/>
              <a:gd name="connsiteY12" fmla="*/ 361951 h 637494"/>
              <a:gd name="connsiteX13" fmla="*/ 592213 w 868438"/>
              <a:gd name="connsiteY13" fmla="*/ 637494 h 637494"/>
              <a:gd name="connsiteX14" fmla="*/ 522488 w 868438"/>
              <a:gd name="connsiteY14" fmla="*/ 581585 h 637494"/>
              <a:gd name="connsiteX15" fmla="*/ 448669 w 868438"/>
              <a:gd name="connsiteY15" fmla="*/ 529197 h 637494"/>
              <a:gd name="connsiteX16" fmla="*/ 386757 w 868438"/>
              <a:gd name="connsiteY16" fmla="*/ 493479 h 637494"/>
              <a:gd name="connsiteX17" fmla="*/ 334369 w 868438"/>
              <a:gd name="connsiteY17" fmla="*/ 467285 h 637494"/>
              <a:gd name="connsiteX18" fmla="*/ 267694 w 868438"/>
              <a:gd name="connsiteY18" fmla="*/ 441091 h 637494"/>
              <a:gd name="connsiteX19" fmla="*/ 201019 w 868438"/>
              <a:gd name="connsiteY19" fmla="*/ 419659 h 637494"/>
              <a:gd name="connsiteX20" fmla="*/ 131963 w 868438"/>
              <a:gd name="connsiteY20" fmla="*/ 405373 h 637494"/>
              <a:gd name="connsiteX21" fmla="*/ 74813 w 868438"/>
              <a:gd name="connsiteY21" fmla="*/ 398230 h 637494"/>
              <a:gd name="connsiteX22" fmla="*/ 458 w 868438"/>
              <a:gd name="connsiteY22" fmla="*/ 392227 h 637494"/>
              <a:gd name="connsiteX23" fmla="*/ 459 w 868438"/>
              <a:gd name="connsiteY23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6788 w 868438"/>
              <a:gd name="connsiteY9" fmla="*/ 179154 h 637494"/>
              <a:gd name="connsiteX10" fmla="*/ 689175 w 868438"/>
              <a:gd name="connsiteY10" fmla="*/ 207729 h 637494"/>
              <a:gd name="connsiteX11" fmla="*/ 753469 w 868438"/>
              <a:gd name="connsiteY11" fmla="*/ 252973 h 637494"/>
              <a:gd name="connsiteX12" fmla="*/ 810619 w 868438"/>
              <a:gd name="connsiteY12" fmla="*/ 307741 h 637494"/>
              <a:gd name="connsiteX13" fmla="*/ 868438 w 868438"/>
              <a:gd name="connsiteY13" fmla="*/ 361951 h 637494"/>
              <a:gd name="connsiteX14" fmla="*/ 592213 w 868438"/>
              <a:gd name="connsiteY14" fmla="*/ 637494 h 637494"/>
              <a:gd name="connsiteX15" fmla="*/ 522488 w 868438"/>
              <a:gd name="connsiteY15" fmla="*/ 581585 h 637494"/>
              <a:gd name="connsiteX16" fmla="*/ 448669 w 868438"/>
              <a:gd name="connsiteY16" fmla="*/ 529197 h 637494"/>
              <a:gd name="connsiteX17" fmla="*/ 386757 w 868438"/>
              <a:gd name="connsiteY17" fmla="*/ 493479 h 637494"/>
              <a:gd name="connsiteX18" fmla="*/ 334369 w 868438"/>
              <a:gd name="connsiteY18" fmla="*/ 467285 h 637494"/>
              <a:gd name="connsiteX19" fmla="*/ 267694 w 868438"/>
              <a:gd name="connsiteY19" fmla="*/ 441091 h 637494"/>
              <a:gd name="connsiteX20" fmla="*/ 201019 w 868438"/>
              <a:gd name="connsiteY20" fmla="*/ 419659 h 637494"/>
              <a:gd name="connsiteX21" fmla="*/ 131963 w 868438"/>
              <a:gd name="connsiteY21" fmla="*/ 405373 h 637494"/>
              <a:gd name="connsiteX22" fmla="*/ 74813 w 868438"/>
              <a:gd name="connsiteY22" fmla="*/ 398230 h 637494"/>
              <a:gd name="connsiteX23" fmla="*/ 458 w 868438"/>
              <a:gd name="connsiteY23" fmla="*/ 392227 h 637494"/>
              <a:gd name="connsiteX24" fmla="*/ 459 w 868438"/>
              <a:gd name="connsiteY24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4407 w 868438"/>
              <a:gd name="connsiteY9" fmla="*/ 172011 h 637494"/>
              <a:gd name="connsiteX10" fmla="*/ 689175 w 868438"/>
              <a:gd name="connsiteY10" fmla="*/ 207729 h 637494"/>
              <a:gd name="connsiteX11" fmla="*/ 753469 w 868438"/>
              <a:gd name="connsiteY11" fmla="*/ 252973 h 637494"/>
              <a:gd name="connsiteX12" fmla="*/ 810619 w 868438"/>
              <a:gd name="connsiteY12" fmla="*/ 307741 h 637494"/>
              <a:gd name="connsiteX13" fmla="*/ 868438 w 868438"/>
              <a:gd name="connsiteY13" fmla="*/ 361951 h 637494"/>
              <a:gd name="connsiteX14" fmla="*/ 592213 w 868438"/>
              <a:gd name="connsiteY14" fmla="*/ 637494 h 637494"/>
              <a:gd name="connsiteX15" fmla="*/ 522488 w 868438"/>
              <a:gd name="connsiteY15" fmla="*/ 581585 h 637494"/>
              <a:gd name="connsiteX16" fmla="*/ 448669 w 868438"/>
              <a:gd name="connsiteY16" fmla="*/ 529197 h 637494"/>
              <a:gd name="connsiteX17" fmla="*/ 386757 w 868438"/>
              <a:gd name="connsiteY17" fmla="*/ 493479 h 637494"/>
              <a:gd name="connsiteX18" fmla="*/ 334369 w 868438"/>
              <a:gd name="connsiteY18" fmla="*/ 467285 h 637494"/>
              <a:gd name="connsiteX19" fmla="*/ 267694 w 868438"/>
              <a:gd name="connsiteY19" fmla="*/ 441091 h 637494"/>
              <a:gd name="connsiteX20" fmla="*/ 201019 w 868438"/>
              <a:gd name="connsiteY20" fmla="*/ 419659 h 637494"/>
              <a:gd name="connsiteX21" fmla="*/ 131963 w 868438"/>
              <a:gd name="connsiteY21" fmla="*/ 405373 h 637494"/>
              <a:gd name="connsiteX22" fmla="*/ 74813 w 868438"/>
              <a:gd name="connsiteY22" fmla="*/ 398230 h 637494"/>
              <a:gd name="connsiteX23" fmla="*/ 458 w 868438"/>
              <a:gd name="connsiteY23" fmla="*/ 392227 h 637494"/>
              <a:gd name="connsiteX24" fmla="*/ 459 w 868438"/>
              <a:gd name="connsiteY24" fmla="*/ 0 h 637494"/>
              <a:gd name="connsiteX0" fmla="*/ 0 w 869784"/>
              <a:gd name="connsiteY0" fmla="*/ 262751 h 634553"/>
              <a:gd name="connsiteX1" fmla="*/ 78540 w 869784"/>
              <a:gd name="connsiteY1" fmla="*/ 0 h 634553"/>
              <a:gd name="connsiteX2" fmla="*/ 152359 w 869784"/>
              <a:gd name="connsiteY2" fmla="*/ 4763 h 634553"/>
              <a:gd name="connsiteX3" fmla="*/ 216653 w 869784"/>
              <a:gd name="connsiteY3" fmla="*/ 14288 h 634553"/>
              <a:gd name="connsiteX4" fmla="*/ 269040 w 869784"/>
              <a:gd name="connsiteY4" fmla="*/ 26194 h 634553"/>
              <a:gd name="connsiteX5" fmla="*/ 347621 w 869784"/>
              <a:gd name="connsiteY5" fmla="*/ 47625 h 634553"/>
              <a:gd name="connsiteX6" fmla="*/ 419060 w 869784"/>
              <a:gd name="connsiteY6" fmla="*/ 69056 h 634553"/>
              <a:gd name="connsiteX7" fmla="*/ 478590 w 869784"/>
              <a:gd name="connsiteY7" fmla="*/ 95250 h 634553"/>
              <a:gd name="connsiteX8" fmla="*/ 552409 w 869784"/>
              <a:gd name="connsiteY8" fmla="*/ 126207 h 634553"/>
              <a:gd name="connsiteX9" fmla="*/ 635753 w 869784"/>
              <a:gd name="connsiteY9" fmla="*/ 169070 h 634553"/>
              <a:gd name="connsiteX10" fmla="*/ 690521 w 869784"/>
              <a:gd name="connsiteY10" fmla="*/ 204788 h 634553"/>
              <a:gd name="connsiteX11" fmla="*/ 754815 w 869784"/>
              <a:gd name="connsiteY11" fmla="*/ 250032 h 634553"/>
              <a:gd name="connsiteX12" fmla="*/ 811965 w 869784"/>
              <a:gd name="connsiteY12" fmla="*/ 304800 h 634553"/>
              <a:gd name="connsiteX13" fmla="*/ 869784 w 869784"/>
              <a:gd name="connsiteY13" fmla="*/ 359010 h 634553"/>
              <a:gd name="connsiteX14" fmla="*/ 593559 w 869784"/>
              <a:gd name="connsiteY14" fmla="*/ 634553 h 634553"/>
              <a:gd name="connsiteX15" fmla="*/ 523834 w 869784"/>
              <a:gd name="connsiteY15" fmla="*/ 578644 h 634553"/>
              <a:gd name="connsiteX16" fmla="*/ 450015 w 869784"/>
              <a:gd name="connsiteY16" fmla="*/ 526256 h 634553"/>
              <a:gd name="connsiteX17" fmla="*/ 388103 w 869784"/>
              <a:gd name="connsiteY17" fmla="*/ 490538 h 634553"/>
              <a:gd name="connsiteX18" fmla="*/ 335715 w 869784"/>
              <a:gd name="connsiteY18" fmla="*/ 464344 h 634553"/>
              <a:gd name="connsiteX19" fmla="*/ 269040 w 869784"/>
              <a:gd name="connsiteY19" fmla="*/ 438150 h 634553"/>
              <a:gd name="connsiteX20" fmla="*/ 202365 w 869784"/>
              <a:gd name="connsiteY20" fmla="*/ 416718 h 634553"/>
              <a:gd name="connsiteX21" fmla="*/ 133309 w 869784"/>
              <a:gd name="connsiteY21" fmla="*/ 402432 h 634553"/>
              <a:gd name="connsiteX22" fmla="*/ 76159 w 869784"/>
              <a:gd name="connsiteY22" fmla="*/ 395289 h 634553"/>
              <a:gd name="connsiteX23" fmla="*/ 1804 w 869784"/>
              <a:gd name="connsiteY23" fmla="*/ 389286 h 634553"/>
              <a:gd name="connsiteX24" fmla="*/ 0 w 869784"/>
              <a:gd name="connsiteY24" fmla="*/ 262751 h 634553"/>
              <a:gd name="connsiteX0" fmla="*/ 0 w 811965"/>
              <a:gd name="connsiteY0" fmla="*/ 262751 h 634553"/>
              <a:gd name="connsiteX1" fmla="*/ 78540 w 811965"/>
              <a:gd name="connsiteY1" fmla="*/ 0 h 634553"/>
              <a:gd name="connsiteX2" fmla="*/ 152359 w 811965"/>
              <a:gd name="connsiteY2" fmla="*/ 4763 h 634553"/>
              <a:gd name="connsiteX3" fmla="*/ 216653 w 811965"/>
              <a:gd name="connsiteY3" fmla="*/ 14288 h 634553"/>
              <a:gd name="connsiteX4" fmla="*/ 269040 w 811965"/>
              <a:gd name="connsiteY4" fmla="*/ 26194 h 634553"/>
              <a:gd name="connsiteX5" fmla="*/ 347621 w 811965"/>
              <a:gd name="connsiteY5" fmla="*/ 47625 h 634553"/>
              <a:gd name="connsiteX6" fmla="*/ 419060 w 811965"/>
              <a:gd name="connsiteY6" fmla="*/ 69056 h 634553"/>
              <a:gd name="connsiteX7" fmla="*/ 478590 w 811965"/>
              <a:gd name="connsiteY7" fmla="*/ 95250 h 634553"/>
              <a:gd name="connsiteX8" fmla="*/ 552409 w 811965"/>
              <a:gd name="connsiteY8" fmla="*/ 126207 h 634553"/>
              <a:gd name="connsiteX9" fmla="*/ 635753 w 811965"/>
              <a:gd name="connsiteY9" fmla="*/ 169070 h 634553"/>
              <a:gd name="connsiteX10" fmla="*/ 690521 w 811965"/>
              <a:gd name="connsiteY10" fmla="*/ 204788 h 634553"/>
              <a:gd name="connsiteX11" fmla="*/ 754815 w 811965"/>
              <a:gd name="connsiteY11" fmla="*/ 250032 h 634553"/>
              <a:gd name="connsiteX12" fmla="*/ 811965 w 811965"/>
              <a:gd name="connsiteY12" fmla="*/ 304800 h 634553"/>
              <a:gd name="connsiteX13" fmla="*/ 671274 w 811965"/>
              <a:gd name="connsiteY13" fmla="*/ 562214 h 634553"/>
              <a:gd name="connsiteX14" fmla="*/ 593559 w 811965"/>
              <a:gd name="connsiteY14" fmla="*/ 634553 h 634553"/>
              <a:gd name="connsiteX15" fmla="*/ 523834 w 811965"/>
              <a:gd name="connsiteY15" fmla="*/ 578644 h 634553"/>
              <a:gd name="connsiteX16" fmla="*/ 450015 w 811965"/>
              <a:gd name="connsiteY16" fmla="*/ 526256 h 634553"/>
              <a:gd name="connsiteX17" fmla="*/ 388103 w 811965"/>
              <a:gd name="connsiteY17" fmla="*/ 490538 h 634553"/>
              <a:gd name="connsiteX18" fmla="*/ 335715 w 811965"/>
              <a:gd name="connsiteY18" fmla="*/ 464344 h 634553"/>
              <a:gd name="connsiteX19" fmla="*/ 269040 w 811965"/>
              <a:gd name="connsiteY19" fmla="*/ 438150 h 634553"/>
              <a:gd name="connsiteX20" fmla="*/ 202365 w 811965"/>
              <a:gd name="connsiteY20" fmla="*/ 416718 h 634553"/>
              <a:gd name="connsiteX21" fmla="*/ 133309 w 811965"/>
              <a:gd name="connsiteY21" fmla="*/ 402432 h 634553"/>
              <a:gd name="connsiteX22" fmla="*/ 76159 w 811965"/>
              <a:gd name="connsiteY22" fmla="*/ 395289 h 634553"/>
              <a:gd name="connsiteX23" fmla="*/ 1804 w 811965"/>
              <a:gd name="connsiteY23" fmla="*/ 389286 h 634553"/>
              <a:gd name="connsiteX24" fmla="*/ 0 w 811965"/>
              <a:gd name="connsiteY24" fmla="*/ 262751 h 634553"/>
              <a:gd name="connsiteX0" fmla="*/ 0 w 756053"/>
              <a:gd name="connsiteY0" fmla="*/ 262751 h 634553"/>
              <a:gd name="connsiteX1" fmla="*/ 78540 w 756053"/>
              <a:gd name="connsiteY1" fmla="*/ 0 h 634553"/>
              <a:gd name="connsiteX2" fmla="*/ 152359 w 756053"/>
              <a:gd name="connsiteY2" fmla="*/ 4763 h 634553"/>
              <a:gd name="connsiteX3" fmla="*/ 216653 w 756053"/>
              <a:gd name="connsiteY3" fmla="*/ 14288 h 634553"/>
              <a:gd name="connsiteX4" fmla="*/ 269040 w 756053"/>
              <a:gd name="connsiteY4" fmla="*/ 26194 h 634553"/>
              <a:gd name="connsiteX5" fmla="*/ 347621 w 756053"/>
              <a:gd name="connsiteY5" fmla="*/ 47625 h 634553"/>
              <a:gd name="connsiteX6" fmla="*/ 419060 w 756053"/>
              <a:gd name="connsiteY6" fmla="*/ 69056 h 634553"/>
              <a:gd name="connsiteX7" fmla="*/ 478590 w 756053"/>
              <a:gd name="connsiteY7" fmla="*/ 95250 h 634553"/>
              <a:gd name="connsiteX8" fmla="*/ 552409 w 756053"/>
              <a:gd name="connsiteY8" fmla="*/ 126207 h 634553"/>
              <a:gd name="connsiteX9" fmla="*/ 635753 w 756053"/>
              <a:gd name="connsiteY9" fmla="*/ 169070 h 634553"/>
              <a:gd name="connsiteX10" fmla="*/ 690521 w 756053"/>
              <a:gd name="connsiteY10" fmla="*/ 204788 h 634553"/>
              <a:gd name="connsiteX11" fmla="*/ 754815 w 756053"/>
              <a:gd name="connsiteY11" fmla="*/ 250032 h 634553"/>
              <a:gd name="connsiteX12" fmla="*/ 616419 w 756053"/>
              <a:gd name="connsiteY12" fmla="*/ 503140 h 634553"/>
              <a:gd name="connsiteX13" fmla="*/ 671274 w 756053"/>
              <a:gd name="connsiteY13" fmla="*/ 562214 h 634553"/>
              <a:gd name="connsiteX14" fmla="*/ 593559 w 756053"/>
              <a:gd name="connsiteY14" fmla="*/ 634553 h 634553"/>
              <a:gd name="connsiteX15" fmla="*/ 523834 w 756053"/>
              <a:gd name="connsiteY15" fmla="*/ 578644 h 634553"/>
              <a:gd name="connsiteX16" fmla="*/ 450015 w 756053"/>
              <a:gd name="connsiteY16" fmla="*/ 526256 h 634553"/>
              <a:gd name="connsiteX17" fmla="*/ 388103 w 756053"/>
              <a:gd name="connsiteY17" fmla="*/ 490538 h 634553"/>
              <a:gd name="connsiteX18" fmla="*/ 335715 w 756053"/>
              <a:gd name="connsiteY18" fmla="*/ 464344 h 634553"/>
              <a:gd name="connsiteX19" fmla="*/ 269040 w 756053"/>
              <a:gd name="connsiteY19" fmla="*/ 438150 h 634553"/>
              <a:gd name="connsiteX20" fmla="*/ 202365 w 756053"/>
              <a:gd name="connsiteY20" fmla="*/ 416718 h 634553"/>
              <a:gd name="connsiteX21" fmla="*/ 133309 w 756053"/>
              <a:gd name="connsiteY21" fmla="*/ 402432 h 634553"/>
              <a:gd name="connsiteX22" fmla="*/ 76159 w 756053"/>
              <a:gd name="connsiteY22" fmla="*/ 395289 h 634553"/>
              <a:gd name="connsiteX23" fmla="*/ 1804 w 756053"/>
              <a:gd name="connsiteY23" fmla="*/ 389286 h 634553"/>
              <a:gd name="connsiteX24" fmla="*/ 0 w 756053"/>
              <a:gd name="connsiteY24" fmla="*/ 262751 h 634553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23834 w 756053"/>
              <a:gd name="connsiteY15" fmla="*/ 578644 h 654010"/>
              <a:gd name="connsiteX16" fmla="*/ 450015 w 756053"/>
              <a:gd name="connsiteY16" fmla="*/ 526256 h 654010"/>
              <a:gd name="connsiteX17" fmla="*/ 388103 w 756053"/>
              <a:gd name="connsiteY17" fmla="*/ 490538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50015 w 756053"/>
              <a:gd name="connsiteY16" fmla="*/ 526256 h 654010"/>
              <a:gd name="connsiteX17" fmla="*/ 388103 w 756053"/>
              <a:gd name="connsiteY17" fmla="*/ 490538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8103 w 756053"/>
              <a:gd name="connsiteY17" fmla="*/ 490538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27598 w 756053"/>
              <a:gd name="connsiteY21" fmla="*/ 401954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27598 w 756053"/>
              <a:gd name="connsiteY21" fmla="*/ 401954 h 654010"/>
              <a:gd name="connsiteX22" fmla="*/ 70767 w 756053"/>
              <a:gd name="connsiteY22" fmla="*/ 391004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54609 w 756053"/>
              <a:gd name="connsiteY13" fmla="*/ 578072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27598 w 756053"/>
              <a:gd name="connsiteY21" fmla="*/ 401954 h 654010"/>
              <a:gd name="connsiteX22" fmla="*/ 70767 w 756053"/>
              <a:gd name="connsiteY22" fmla="*/ 391004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26"/>
              <a:gd name="connsiteY0" fmla="*/ 262751 h 654010"/>
              <a:gd name="connsiteX1" fmla="*/ 78540 w 756026"/>
              <a:gd name="connsiteY1" fmla="*/ 0 h 654010"/>
              <a:gd name="connsiteX2" fmla="*/ 152359 w 756026"/>
              <a:gd name="connsiteY2" fmla="*/ 4763 h 654010"/>
              <a:gd name="connsiteX3" fmla="*/ 216653 w 756026"/>
              <a:gd name="connsiteY3" fmla="*/ 14288 h 654010"/>
              <a:gd name="connsiteX4" fmla="*/ 269040 w 756026"/>
              <a:gd name="connsiteY4" fmla="*/ 26194 h 654010"/>
              <a:gd name="connsiteX5" fmla="*/ 347621 w 756026"/>
              <a:gd name="connsiteY5" fmla="*/ 47625 h 654010"/>
              <a:gd name="connsiteX6" fmla="*/ 419060 w 756026"/>
              <a:gd name="connsiteY6" fmla="*/ 69056 h 654010"/>
              <a:gd name="connsiteX7" fmla="*/ 478590 w 756026"/>
              <a:gd name="connsiteY7" fmla="*/ 95250 h 654010"/>
              <a:gd name="connsiteX8" fmla="*/ 552409 w 756026"/>
              <a:gd name="connsiteY8" fmla="*/ 126207 h 654010"/>
              <a:gd name="connsiteX9" fmla="*/ 635753 w 756026"/>
              <a:gd name="connsiteY9" fmla="*/ 169070 h 654010"/>
              <a:gd name="connsiteX10" fmla="*/ 690521 w 756026"/>
              <a:gd name="connsiteY10" fmla="*/ 204788 h 654010"/>
              <a:gd name="connsiteX11" fmla="*/ 754815 w 756026"/>
              <a:gd name="connsiteY11" fmla="*/ 250032 h 654010"/>
              <a:gd name="connsiteX12" fmla="*/ 612282 w 756026"/>
              <a:gd name="connsiteY12" fmla="*/ 529634 h 654010"/>
              <a:gd name="connsiteX13" fmla="*/ 654609 w 756026"/>
              <a:gd name="connsiteY13" fmla="*/ 578072 h 654010"/>
              <a:gd name="connsiteX14" fmla="*/ 581706 w 756026"/>
              <a:gd name="connsiteY14" fmla="*/ 654010 h 654010"/>
              <a:gd name="connsiteX15" fmla="*/ 517167 w 756026"/>
              <a:gd name="connsiteY15" fmla="*/ 589588 h 654010"/>
              <a:gd name="connsiteX16" fmla="*/ 436689 w 756026"/>
              <a:gd name="connsiteY16" fmla="*/ 525140 h 654010"/>
              <a:gd name="connsiteX17" fmla="*/ 380488 w 756026"/>
              <a:gd name="connsiteY17" fmla="*/ 489900 h 654010"/>
              <a:gd name="connsiteX18" fmla="*/ 328100 w 756026"/>
              <a:gd name="connsiteY18" fmla="*/ 463706 h 654010"/>
              <a:gd name="connsiteX19" fmla="*/ 257617 w 756026"/>
              <a:gd name="connsiteY19" fmla="*/ 437193 h 654010"/>
              <a:gd name="connsiteX20" fmla="*/ 193006 w 756026"/>
              <a:gd name="connsiteY20" fmla="*/ 414018 h 654010"/>
              <a:gd name="connsiteX21" fmla="*/ 127598 w 756026"/>
              <a:gd name="connsiteY21" fmla="*/ 401954 h 654010"/>
              <a:gd name="connsiteX22" fmla="*/ 70767 w 756026"/>
              <a:gd name="connsiteY22" fmla="*/ 391004 h 654010"/>
              <a:gd name="connsiteX23" fmla="*/ 1804 w 756026"/>
              <a:gd name="connsiteY23" fmla="*/ 389286 h 654010"/>
              <a:gd name="connsiteX24" fmla="*/ 0 w 756026"/>
              <a:gd name="connsiteY24" fmla="*/ 262751 h 654010"/>
              <a:gd name="connsiteX0" fmla="*/ 0 w 690521"/>
              <a:gd name="connsiteY0" fmla="*/ 262751 h 654010"/>
              <a:gd name="connsiteX1" fmla="*/ 78540 w 690521"/>
              <a:gd name="connsiteY1" fmla="*/ 0 h 654010"/>
              <a:gd name="connsiteX2" fmla="*/ 152359 w 690521"/>
              <a:gd name="connsiteY2" fmla="*/ 4763 h 654010"/>
              <a:gd name="connsiteX3" fmla="*/ 216653 w 690521"/>
              <a:gd name="connsiteY3" fmla="*/ 14288 h 654010"/>
              <a:gd name="connsiteX4" fmla="*/ 269040 w 690521"/>
              <a:gd name="connsiteY4" fmla="*/ 26194 h 654010"/>
              <a:gd name="connsiteX5" fmla="*/ 347621 w 690521"/>
              <a:gd name="connsiteY5" fmla="*/ 47625 h 654010"/>
              <a:gd name="connsiteX6" fmla="*/ 419060 w 690521"/>
              <a:gd name="connsiteY6" fmla="*/ 69056 h 654010"/>
              <a:gd name="connsiteX7" fmla="*/ 478590 w 690521"/>
              <a:gd name="connsiteY7" fmla="*/ 95250 h 654010"/>
              <a:gd name="connsiteX8" fmla="*/ 552409 w 690521"/>
              <a:gd name="connsiteY8" fmla="*/ 126207 h 654010"/>
              <a:gd name="connsiteX9" fmla="*/ 635753 w 690521"/>
              <a:gd name="connsiteY9" fmla="*/ 169070 h 654010"/>
              <a:gd name="connsiteX10" fmla="*/ 690521 w 690521"/>
              <a:gd name="connsiteY10" fmla="*/ 204788 h 654010"/>
              <a:gd name="connsiteX11" fmla="*/ 585420 w 690521"/>
              <a:gd name="connsiteY11" fmla="*/ 509993 h 654010"/>
              <a:gd name="connsiteX12" fmla="*/ 612282 w 690521"/>
              <a:gd name="connsiteY12" fmla="*/ 529634 h 654010"/>
              <a:gd name="connsiteX13" fmla="*/ 654609 w 690521"/>
              <a:gd name="connsiteY13" fmla="*/ 578072 h 654010"/>
              <a:gd name="connsiteX14" fmla="*/ 581706 w 690521"/>
              <a:gd name="connsiteY14" fmla="*/ 654010 h 654010"/>
              <a:gd name="connsiteX15" fmla="*/ 517167 w 690521"/>
              <a:gd name="connsiteY15" fmla="*/ 589588 h 654010"/>
              <a:gd name="connsiteX16" fmla="*/ 436689 w 690521"/>
              <a:gd name="connsiteY16" fmla="*/ 525140 h 654010"/>
              <a:gd name="connsiteX17" fmla="*/ 380488 w 690521"/>
              <a:gd name="connsiteY17" fmla="*/ 489900 h 654010"/>
              <a:gd name="connsiteX18" fmla="*/ 328100 w 690521"/>
              <a:gd name="connsiteY18" fmla="*/ 463706 h 654010"/>
              <a:gd name="connsiteX19" fmla="*/ 257617 w 690521"/>
              <a:gd name="connsiteY19" fmla="*/ 437193 h 654010"/>
              <a:gd name="connsiteX20" fmla="*/ 193006 w 690521"/>
              <a:gd name="connsiteY20" fmla="*/ 414018 h 654010"/>
              <a:gd name="connsiteX21" fmla="*/ 127598 w 690521"/>
              <a:gd name="connsiteY21" fmla="*/ 401954 h 654010"/>
              <a:gd name="connsiteX22" fmla="*/ 70767 w 690521"/>
              <a:gd name="connsiteY22" fmla="*/ 391004 h 654010"/>
              <a:gd name="connsiteX23" fmla="*/ 1804 w 690521"/>
              <a:gd name="connsiteY23" fmla="*/ 389286 h 654010"/>
              <a:gd name="connsiteX24" fmla="*/ 0 w 690521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478590 w 654609"/>
              <a:gd name="connsiteY7" fmla="*/ 95250 h 654010"/>
              <a:gd name="connsiteX8" fmla="*/ 552409 w 654609"/>
              <a:gd name="connsiteY8" fmla="*/ 126207 h 654010"/>
              <a:gd name="connsiteX9" fmla="*/ 635753 w 654609"/>
              <a:gd name="connsiteY9" fmla="*/ 169070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478590 w 654609"/>
              <a:gd name="connsiteY7" fmla="*/ 95250 h 654010"/>
              <a:gd name="connsiteX8" fmla="*/ 552409 w 654609"/>
              <a:gd name="connsiteY8" fmla="*/ 126207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478590 w 654609"/>
              <a:gd name="connsiteY7" fmla="*/ 95250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292643 w 654609"/>
              <a:gd name="connsiteY5" fmla="*/ 246235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292643 w 654609"/>
              <a:gd name="connsiteY5" fmla="*/ 246235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288636 w 654609"/>
              <a:gd name="connsiteY5" fmla="*/ 339839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193160 w 654609"/>
              <a:gd name="connsiteY3" fmla="*/ 42994 h 654010"/>
              <a:gd name="connsiteX4" fmla="*/ 269040 w 654609"/>
              <a:gd name="connsiteY4" fmla="*/ 26194 h 654010"/>
              <a:gd name="connsiteX5" fmla="*/ 288636 w 654609"/>
              <a:gd name="connsiteY5" fmla="*/ 339839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193160 w 654609"/>
              <a:gd name="connsiteY3" fmla="*/ 42994 h 654010"/>
              <a:gd name="connsiteX4" fmla="*/ 269040 w 654609"/>
              <a:gd name="connsiteY4" fmla="*/ 26194 h 654010"/>
              <a:gd name="connsiteX5" fmla="*/ 288636 w 654609"/>
              <a:gd name="connsiteY5" fmla="*/ 339839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2 h 654011"/>
              <a:gd name="connsiteX1" fmla="*/ 78540 w 654609"/>
              <a:gd name="connsiteY1" fmla="*/ 1 h 654011"/>
              <a:gd name="connsiteX2" fmla="*/ 89235 w 654609"/>
              <a:gd name="connsiteY2" fmla="*/ 206613 h 654011"/>
              <a:gd name="connsiteX3" fmla="*/ 152359 w 654609"/>
              <a:gd name="connsiteY3" fmla="*/ 4764 h 654011"/>
              <a:gd name="connsiteX4" fmla="*/ 193160 w 654609"/>
              <a:gd name="connsiteY4" fmla="*/ 42995 h 654011"/>
              <a:gd name="connsiteX5" fmla="*/ 269040 w 654609"/>
              <a:gd name="connsiteY5" fmla="*/ 26195 h 654011"/>
              <a:gd name="connsiteX6" fmla="*/ 288636 w 654609"/>
              <a:gd name="connsiteY6" fmla="*/ 339840 h 654011"/>
              <a:gd name="connsiteX7" fmla="*/ 343260 w 654609"/>
              <a:gd name="connsiteY7" fmla="*/ 356030 h 654011"/>
              <a:gd name="connsiteX8" fmla="*/ 394856 w 654609"/>
              <a:gd name="connsiteY8" fmla="*/ 385394 h 654011"/>
              <a:gd name="connsiteX9" fmla="*/ 448053 w 654609"/>
              <a:gd name="connsiteY9" fmla="*/ 410789 h 654011"/>
              <a:gd name="connsiteX10" fmla="*/ 501254 w 654609"/>
              <a:gd name="connsiteY10" fmla="*/ 447293 h 654011"/>
              <a:gd name="connsiteX11" fmla="*/ 546982 w 654609"/>
              <a:gd name="connsiteY11" fmla="*/ 476503 h 654011"/>
              <a:gd name="connsiteX12" fmla="*/ 585420 w 654609"/>
              <a:gd name="connsiteY12" fmla="*/ 509994 h 654011"/>
              <a:gd name="connsiteX13" fmla="*/ 612282 w 654609"/>
              <a:gd name="connsiteY13" fmla="*/ 529635 h 654011"/>
              <a:gd name="connsiteX14" fmla="*/ 654609 w 654609"/>
              <a:gd name="connsiteY14" fmla="*/ 578073 h 654011"/>
              <a:gd name="connsiteX15" fmla="*/ 581706 w 654609"/>
              <a:gd name="connsiteY15" fmla="*/ 654011 h 654011"/>
              <a:gd name="connsiteX16" fmla="*/ 517167 w 654609"/>
              <a:gd name="connsiteY16" fmla="*/ 589589 h 654011"/>
              <a:gd name="connsiteX17" fmla="*/ 436689 w 654609"/>
              <a:gd name="connsiteY17" fmla="*/ 525141 h 654011"/>
              <a:gd name="connsiteX18" fmla="*/ 380488 w 654609"/>
              <a:gd name="connsiteY18" fmla="*/ 489901 h 654011"/>
              <a:gd name="connsiteX19" fmla="*/ 328100 w 654609"/>
              <a:gd name="connsiteY19" fmla="*/ 463707 h 654011"/>
              <a:gd name="connsiteX20" fmla="*/ 257617 w 654609"/>
              <a:gd name="connsiteY20" fmla="*/ 437194 h 654011"/>
              <a:gd name="connsiteX21" fmla="*/ 193006 w 654609"/>
              <a:gd name="connsiteY21" fmla="*/ 414019 h 654011"/>
              <a:gd name="connsiteX22" fmla="*/ 127598 w 654609"/>
              <a:gd name="connsiteY22" fmla="*/ 401955 h 654011"/>
              <a:gd name="connsiteX23" fmla="*/ 70767 w 654609"/>
              <a:gd name="connsiteY23" fmla="*/ 391005 h 654011"/>
              <a:gd name="connsiteX24" fmla="*/ 1804 w 654609"/>
              <a:gd name="connsiteY24" fmla="*/ 389287 h 654011"/>
              <a:gd name="connsiteX25" fmla="*/ 0 w 654609"/>
              <a:gd name="connsiteY25" fmla="*/ 262752 h 654011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69040 w 654609"/>
              <a:gd name="connsiteY5" fmla="*/ 2143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18793 w 654609"/>
              <a:gd name="connsiteY5" fmla="*/ 28562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18793 w 654609"/>
              <a:gd name="connsiteY5" fmla="*/ 28562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01649 w 654609"/>
              <a:gd name="connsiteY5" fmla="*/ 30719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39268 w 654609"/>
              <a:gd name="connsiteY4" fmla="*/ 292532 h 649247"/>
              <a:gd name="connsiteX5" fmla="*/ 201649 w 654609"/>
              <a:gd name="connsiteY5" fmla="*/ 30719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57172 w 654609"/>
              <a:gd name="connsiteY1" fmla="*/ 250343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39268 w 654609"/>
              <a:gd name="connsiteY4" fmla="*/ 292532 h 649247"/>
              <a:gd name="connsiteX5" fmla="*/ 201649 w 654609"/>
              <a:gd name="connsiteY5" fmla="*/ 30719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56139 h 447398"/>
              <a:gd name="connsiteX1" fmla="*/ 57172 w 654609"/>
              <a:gd name="connsiteY1" fmla="*/ 48494 h 447398"/>
              <a:gd name="connsiteX2" fmla="*/ 89235 w 654609"/>
              <a:gd name="connsiteY2" fmla="*/ 0 h 447398"/>
              <a:gd name="connsiteX3" fmla="*/ 87981 w 654609"/>
              <a:gd name="connsiteY3" fmla="*/ 86080 h 447398"/>
              <a:gd name="connsiteX4" fmla="*/ 139268 w 654609"/>
              <a:gd name="connsiteY4" fmla="*/ 90683 h 447398"/>
              <a:gd name="connsiteX5" fmla="*/ 201649 w 654609"/>
              <a:gd name="connsiteY5" fmla="*/ 105342 h 447398"/>
              <a:gd name="connsiteX6" fmla="*/ 288636 w 654609"/>
              <a:gd name="connsiteY6" fmla="*/ 133227 h 447398"/>
              <a:gd name="connsiteX7" fmla="*/ 343260 w 654609"/>
              <a:gd name="connsiteY7" fmla="*/ 149417 h 447398"/>
              <a:gd name="connsiteX8" fmla="*/ 394856 w 654609"/>
              <a:gd name="connsiteY8" fmla="*/ 178781 h 447398"/>
              <a:gd name="connsiteX9" fmla="*/ 448053 w 654609"/>
              <a:gd name="connsiteY9" fmla="*/ 204176 h 447398"/>
              <a:gd name="connsiteX10" fmla="*/ 501254 w 654609"/>
              <a:gd name="connsiteY10" fmla="*/ 240680 h 447398"/>
              <a:gd name="connsiteX11" fmla="*/ 546982 w 654609"/>
              <a:gd name="connsiteY11" fmla="*/ 269890 h 447398"/>
              <a:gd name="connsiteX12" fmla="*/ 585420 w 654609"/>
              <a:gd name="connsiteY12" fmla="*/ 303381 h 447398"/>
              <a:gd name="connsiteX13" fmla="*/ 612282 w 654609"/>
              <a:gd name="connsiteY13" fmla="*/ 323022 h 447398"/>
              <a:gd name="connsiteX14" fmla="*/ 654609 w 654609"/>
              <a:gd name="connsiteY14" fmla="*/ 371460 h 447398"/>
              <a:gd name="connsiteX15" fmla="*/ 581706 w 654609"/>
              <a:gd name="connsiteY15" fmla="*/ 447398 h 447398"/>
              <a:gd name="connsiteX16" fmla="*/ 517167 w 654609"/>
              <a:gd name="connsiteY16" fmla="*/ 382976 h 447398"/>
              <a:gd name="connsiteX17" fmla="*/ 436689 w 654609"/>
              <a:gd name="connsiteY17" fmla="*/ 318528 h 447398"/>
              <a:gd name="connsiteX18" fmla="*/ 380488 w 654609"/>
              <a:gd name="connsiteY18" fmla="*/ 283288 h 447398"/>
              <a:gd name="connsiteX19" fmla="*/ 328100 w 654609"/>
              <a:gd name="connsiteY19" fmla="*/ 257094 h 447398"/>
              <a:gd name="connsiteX20" fmla="*/ 257617 w 654609"/>
              <a:gd name="connsiteY20" fmla="*/ 230581 h 447398"/>
              <a:gd name="connsiteX21" fmla="*/ 193006 w 654609"/>
              <a:gd name="connsiteY21" fmla="*/ 207406 h 447398"/>
              <a:gd name="connsiteX22" fmla="*/ 127598 w 654609"/>
              <a:gd name="connsiteY22" fmla="*/ 195342 h 447398"/>
              <a:gd name="connsiteX23" fmla="*/ 70767 w 654609"/>
              <a:gd name="connsiteY23" fmla="*/ 184392 h 447398"/>
              <a:gd name="connsiteX24" fmla="*/ 1804 w 654609"/>
              <a:gd name="connsiteY24" fmla="*/ 182674 h 447398"/>
              <a:gd name="connsiteX25" fmla="*/ 0 w 654609"/>
              <a:gd name="connsiteY25" fmla="*/ 56139 h 447398"/>
              <a:gd name="connsiteX0" fmla="*/ 0 w 654609"/>
              <a:gd name="connsiteY0" fmla="*/ 7653 h 398912"/>
              <a:gd name="connsiteX1" fmla="*/ 57172 w 654609"/>
              <a:gd name="connsiteY1" fmla="*/ 8 h 398912"/>
              <a:gd name="connsiteX2" fmla="*/ 57630 w 654609"/>
              <a:gd name="connsiteY2" fmla="*/ 31304 h 398912"/>
              <a:gd name="connsiteX3" fmla="*/ 87981 w 654609"/>
              <a:gd name="connsiteY3" fmla="*/ 37594 h 398912"/>
              <a:gd name="connsiteX4" fmla="*/ 139268 w 654609"/>
              <a:gd name="connsiteY4" fmla="*/ 42197 h 398912"/>
              <a:gd name="connsiteX5" fmla="*/ 201649 w 654609"/>
              <a:gd name="connsiteY5" fmla="*/ 56856 h 398912"/>
              <a:gd name="connsiteX6" fmla="*/ 288636 w 654609"/>
              <a:gd name="connsiteY6" fmla="*/ 84741 h 398912"/>
              <a:gd name="connsiteX7" fmla="*/ 343260 w 654609"/>
              <a:gd name="connsiteY7" fmla="*/ 100931 h 398912"/>
              <a:gd name="connsiteX8" fmla="*/ 394856 w 654609"/>
              <a:gd name="connsiteY8" fmla="*/ 130295 h 398912"/>
              <a:gd name="connsiteX9" fmla="*/ 448053 w 654609"/>
              <a:gd name="connsiteY9" fmla="*/ 155690 h 398912"/>
              <a:gd name="connsiteX10" fmla="*/ 501254 w 654609"/>
              <a:gd name="connsiteY10" fmla="*/ 192194 h 398912"/>
              <a:gd name="connsiteX11" fmla="*/ 546982 w 654609"/>
              <a:gd name="connsiteY11" fmla="*/ 221404 h 398912"/>
              <a:gd name="connsiteX12" fmla="*/ 585420 w 654609"/>
              <a:gd name="connsiteY12" fmla="*/ 254895 h 398912"/>
              <a:gd name="connsiteX13" fmla="*/ 612282 w 654609"/>
              <a:gd name="connsiteY13" fmla="*/ 274536 h 398912"/>
              <a:gd name="connsiteX14" fmla="*/ 654609 w 654609"/>
              <a:gd name="connsiteY14" fmla="*/ 322974 h 398912"/>
              <a:gd name="connsiteX15" fmla="*/ 581706 w 654609"/>
              <a:gd name="connsiteY15" fmla="*/ 398912 h 398912"/>
              <a:gd name="connsiteX16" fmla="*/ 517167 w 654609"/>
              <a:gd name="connsiteY16" fmla="*/ 334490 h 398912"/>
              <a:gd name="connsiteX17" fmla="*/ 436689 w 654609"/>
              <a:gd name="connsiteY17" fmla="*/ 270042 h 398912"/>
              <a:gd name="connsiteX18" fmla="*/ 380488 w 654609"/>
              <a:gd name="connsiteY18" fmla="*/ 234802 h 398912"/>
              <a:gd name="connsiteX19" fmla="*/ 328100 w 654609"/>
              <a:gd name="connsiteY19" fmla="*/ 208608 h 398912"/>
              <a:gd name="connsiteX20" fmla="*/ 257617 w 654609"/>
              <a:gd name="connsiteY20" fmla="*/ 182095 h 398912"/>
              <a:gd name="connsiteX21" fmla="*/ 193006 w 654609"/>
              <a:gd name="connsiteY21" fmla="*/ 158920 h 398912"/>
              <a:gd name="connsiteX22" fmla="*/ 127598 w 654609"/>
              <a:gd name="connsiteY22" fmla="*/ 146856 h 398912"/>
              <a:gd name="connsiteX23" fmla="*/ 70767 w 654609"/>
              <a:gd name="connsiteY23" fmla="*/ 135906 h 398912"/>
              <a:gd name="connsiteX24" fmla="*/ 1804 w 654609"/>
              <a:gd name="connsiteY24" fmla="*/ 134188 h 398912"/>
              <a:gd name="connsiteX25" fmla="*/ 0 w 654609"/>
              <a:gd name="connsiteY25" fmla="*/ 7653 h 398912"/>
              <a:gd name="connsiteX0" fmla="*/ 0 w 654609"/>
              <a:gd name="connsiteY0" fmla="*/ 0 h 391259"/>
              <a:gd name="connsiteX1" fmla="*/ 37009 w 654609"/>
              <a:gd name="connsiteY1" fmla="*/ 27092 h 391259"/>
              <a:gd name="connsiteX2" fmla="*/ 57630 w 654609"/>
              <a:gd name="connsiteY2" fmla="*/ 23651 h 391259"/>
              <a:gd name="connsiteX3" fmla="*/ 87981 w 654609"/>
              <a:gd name="connsiteY3" fmla="*/ 29941 h 391259"/>
              <a:gd name="connsiteX4" fmla="*/ 139268 w 654609"/>
              <a:gd name="connsiteY4" fmla="*/ 34544 h 391259"/>
              <a:gd name="connsiteX5" fmla="*/ 201649 w 654609"/>
              <a:gd name="connsiteY5" fmla="*/ 49203 h 391259"/>
              <a:gd name="connsiteX6" fmla="*/ 288636 w 654609"/>
              <a:gd name="connsiteY6" fmla="*/ 77088 h 391259"/>
              <a:gd name="connsiteX7" fmla="*/ 343260 w 654609"/>
              <a:gd name="connsiteY7" fmla="*/ 93278 h 391259"/>
              <a:gd name="connsiteX8" fmla="*/ 394856 w 654609"/>
              <a:gd name="connsiteY8" fmla="*/ 122642 h 391259"/>
              <a:gd name="connsiteX9" fmla="*/ 448053 w 654609"/>
              <a:gd name="connsiteY9" fmla="*/ 148037 h 391259"/>
              <a:gd name="connsiteX10" fmla="*/ 501254 w 654609"/>
              <a:gd name="connsiteY10" fmla="*/ 184541 h 391259"/>
              <a:gd name="connsiteX11" fmla="*/ 546982 w 654609"/>
              <a:gd name="connsiteY11" fmla="*/ 213751 h 391259"/>
              <a:gd name="connsiteX12" fmla="*/ 585420 w 654609"/>
              <a:gd name="connsiteY12" fmla="*/ 247242 h 391259"/>
              <a:gd name="connsiteX13" fmla="*/ 612282 w 654609"/>
              <a:gd name="connsiteY13" fmla="*/ 266883 h 391259"/>
              <a:gd name="connsiteX14" fmla="*/ 654609 w 654609"/>
              <a:gd name="connsiteY14" fmla="*/ 315321 h 391259"/>
              <a:gd name="connsiteX15" fmla="*/ 581706 w 654609"/>
              <a:gd name="connsiteY15" fmla="*/ 391259 h 391259"/>
              <a:gd name="connsiteX16" fmla="*/ 517167 w 654609"/>
              <a:gd name="connsiteY16" fmla="*/ 326837 h 391259"/>
              <a:gd name="connsiteX17" fmla="*/ 436689 w 654609"/>
              <a:gd name="connsiteY17" fmla="*/ 262389 h 391259"/>
              <a:gd name="connsiteX18" fmla="*/ 380488 w 654609"/>
              <a:gd name="connsiteY18" fmla="*/ 227149 h 391259"/>
              <a:gd name="connsiteX19" fmla="*/ 328100 w 654609"/>
              <a:gd name="connsiteY19" fmla="*/ 200955 h 391259"/>
              <a:gd name="connsiteX20" fmla="*/ 257617 w 654609"/>
              <a:gd name="connsiteY20" fmla="*/ 174442 h 391259"/>
              <a:gd name="connsiteX21" fmla="*/ 193006 w 654609"/>
              <a:gd name="connsiteY21" fmla="*/ 151267 h 391259"/>
              <a:gd name="connsiteX22" fmla="*/ 127598 w 654609"/>
              <a:gd name="connsiteY22" fmla="*/ 139203 h 391259"/>
              <a:gd name="connsiteX23" fmla="*/ 70767 w 654609"/>
              <a:gd name="connsiteY23" fmla="*/ 128253 h 391259"/>
              <a:gd name="connsiteX24" fmla="*/ 1804 w 654609"/>
              <a:gd name="connsiteY24" fmla="*/ 126535 h 391259"/>
              <a:gd name="connsiteX25" fmla="*/ 0 w 654609"/>
              <a:gd name="connsiteY25" fmla="*/ 0 h 391259"/>
              <a:gd name="connsiteX0" fmla="*/ 0 w 654619"/>
              <a:gd name="connsiteY0" fmla="*/ 0 h 368254"/>
              <a:gd name="connsiteX1" fmla="*/ 37019 w 654619"/>
              <a:gd name="connsiteY1" fmla="*/ 4087 h 368254"/>
              <a:gd name="connsiteX2" fmla="*/ 57640 w 654619"/>
              <a:gd name="connsiteY2" fmla="*/ 646 h 368254"/>
              <a:gd name="connsiteX3" fmla="*/ 87991 w 654619"/>
              <a:gd name="connsiteY3" fmla="*/ 6936 h 368254"/>
              <a:gd name="connsiteX4" fmla="*/ 139278 w 654619"/>
              <a:gd name="connsiteY4" fmla="*/ 11539 h 368254"/>
              <a:gd name="connsiteX5" fmla="*/ 201659 w 654619"/>
              <a:gd name="connsiteY5" fmla="*/ 26198 h 368254"/>
              <a:gd name="connsiteX6" fmla="*/ 288646 w 654619"/>
              <a:gd name="connsiteY6" fmla="*/ 54083 h 368254"/>
              <a:gd name="connsiteX7" fmla="*/ 343270 w 654619"/>
              <a:gd name="connsiteY7" fmla="*/ 70273 h 368254"/>
              <a:gd name="connsiteX8" fmla="*/ 394866 w 654619"/>
              <a:gd name="connsiteY8" fmla="*/ 99637 h 368254"/>
              <a:gd name="connsiteX9" fmla="*/ 448063 w 654619"/>
              <a:gd name="connsiteY9" fmla="*/ 125032 h 368254"/>
              <a:gd name="connsiteX10" fmla="*/ 501264 w 654619"/>
              <a:gd name="connsiteY10" fmla="*/ 161536 h 368254"/>
              <a:gd name="connsiteX11" fmla="*/ 546992 w 654619"/>
              <a:gd name="connsiteY11" fmla="*/ 190746 h 368254"/>
              <a:gd name="connsiteX12" fmla="*/ 585430 w 654619"/>
              <a:gd name="connsiteY12" fmla="*/ 224237 h 368254"/>
              <a:gd name="connsiteX13" fmla="*/ 612292 w 654619"/>
              <a:gd name="connsiteY13" fmla="*/ 243878 h 368254"/>
              <a:gd name="connsiteX14" fmla="*/ 654619 w 654619"/>
              <a:gd name="connsiteY14" fmla="*/ 292316 h 368254"/>
              <a:gd name="connsiteX15" fmla="*/ 581716 w 654619"/>
              <a:gd name="connsiteY15" fmla="*/ 368254 h 368254"/>
              <a:gd name="connsiteX16" fmla="*/ 517177 w 654619"/>
              <a:gd name="connsiteY16" fmla="*/ 303832 h 368254"/>
              <a:gd name="connsiteX17" fmla="*/ 436699 w 654619"/>
              <a:gd name="connsiteY17" fmla="*/ 239384 h 368254"/>
              <a:gd name="connsiteX18" fmla="*/ 380498 w 654619"/>
              <a:gd name="connsiteY18" fmla="*/ 204144 h 368254"/>
              <a:gd name="connsiteX19" fmla="*/ 328110 w 654619"/>
              <a:gd name="connsiteY19" fmla="*/ 177950 h 368254"/>
              <a:gd name="connsiteX20" fmla="*/ 257627 w 654619"/>
              <a:gd name="connsiteY20" fmla="*/ 151437 h 368254"/>
              <a:gd name="connsiteX21" fmla="*/ 193016 w 654619"/>
              <a:gd name="connsiteY21" fmla="*/ 128262 h 368254"/>
              <a:gd name="connsiteX22" fmla="*/ 127608 w 654619"/>
              <a:gd name="connsiteY22" fmla="*/ 116198 h 368254"/>
              <a:gd name="connsiteX23" fmla="*/ 70777 w 654619"/>
              <a:gd name="connsiteY23" fmla="*/ 105248 h 368254"/>
              <a:gd name="connsiteX24" fmla="*/ 1814 w 654619"/>
              <a:gd name="connsiteY24" fmla="*/ 103530 h 368254"/>
              <a:gd name="connsiteX25" fmla="*/ 0 w 654619"/>
              <a:gd name="connsiteY25" fmla="*/ 0 h 368254"/>
              <a:gd name="connsiteX0" fmla="*/ 0 w 654938"/>
              <a:gd name="connsiteY0" fmla="*/ 3162 h 367608"/>
              <a:gd name="connsiteX1" fmla="*/ 37338 w 654938"/>
              <a:gd name="connsiteY1" fmla="*/ 3441 h 367608"/>
              <a:gd name="connsiteX2" fmla="*/ 57959 w 654938"/>
              <a:gd name="connsiteY2" fmla="*/ 0 h 367608"/>
              <a:gd name="connsiteX3" fmla="*/ 88310 w 654938"/>
              <a:gd name="connsiteY3" fmla="*/ 6290 h 367608"/>
              <a:gd name="connsiteX4" fmla="*/ 139597 w 654938"/>
              <a:gd name="connsiteY4" fmla="*/ 10893 h 367608"/>
              <a:gd name="connsiteX5" fmla="*/ 201978 w 654938"/>
              <a:gd name="connsiteY5" fmla="*/ 25552 h 367608"/>
              <a:gd name="connsiteX6" fmla="*/ 288965 w 654938"/>
              <a:gd name="connsiteY6" fmla="*/ 53437 h 367608"/>
              <a:gd name="connsiteX7" fmla="*/ 343589 w 654938"/>
              <a:gd name="connsiteY7" fmla="*/ 69627 h 367608"/>
              <a:gd name="connsiteX8" fmla="*/ 395185 w 654938"/>
              <a:gd name="connsiteY8" fmla="*/ 98991 h 367608"/>
              <a:gd name="connsiteX9" fmla="*/ 448382 w 654938"/>
              <a:gd name="connsiteY9" fmla="*/ 124386 h 367608"/>
              <a:gd name="connsiteX10" fmla="*/ 501583 w 654938"/>
              <a:gd name="connsiteY10" fmla="*/ 160890 h 367608"/>
              <a:gd name="connsiteX11" fmla="*/ 547311 w 654938"/>
              <a:gd name="connsiteY11" fmla="*/ 190100 h 367608"/>
              <a:gd name="connsiteX12" fmla="*/ 585749 w 654938"/>
              <a:gd name="connsiteY12" fmla="*/ 223591 h 367608"/>
              <a:gd name="connsiteX13" fmla="*/ 612611 w 654938"/>
              <a:gd name="connsiteY13" fmla="*/ 243232 h 367608"/>
              <a:gd name="connsiteX14" fmla="*/ 654938 w 654938"/>
              <a:gd name="connsiteY14" fmla="*/ 291670 h 367608"/>
              <a:gd name="connsiteX15" fmla="*/ 582035 w 654938"/>
              <a:gd name="connsiteY15" fmla="*/ 367608 h 367608"/>
              <a:gd name="connsiteX16" fmla="*/ 517496 w 654938"/>
              <a:gd name="connsiteY16" fmla="*/ 303186 h 367608"/>
              <a:gd name="connsiteX17" fmla="*/ 437018 w 654938"/>
              <a:gd name="connsiteY17" fmla="*/ 238738 h 367608"/>
              <a:gd name="connsiteX18" fmla="*/ 380817 w 654938"/>
              <a:gd name="connsiteY18" fmla="*/ 203498 h 367608"/>
              <a:gd name="connsiteX19" fmla="*/ 328429 w 654938"/>
              <a:gd name="connsiteY19" fmla="*/ 177304 h 367608"/>
              <a:gd name="connsiteX20" fmla="*/ 257946 w 654938"/>
              <a:gd name="connsiteY20" fmla="*/ 150791 h 367608"/>
              <a:gd name="connsiteX21" fmla="*/ 193335 w 654938"/>
              <a:gd name="connsiteY21" fmla="*/ 127616 h 367608"/>
              <a:gd name="connsiteX22" fmla="*/ 127927 w 654938"/>
              <a:gd name="connsiteY22" fmla="*/ 115552 h 367608"/>
              <a:gd name="connsiteX23" fmla="*/ 71096 w 654938"/>
              <a:gd name="connsiteY23" fmla="*/ 104602 h 367608"/>
              <a:gd name="connsiteX24" fmla="*/ 2133 w 654938"/>
              <a:gd name="connsiteY24" fmla="*/ 102884 h 367608"/>
              <a:gd name="connsiteX25" fmla="*/ 0 w 654938"/>
              <a:gd name="connsiteY25" fmla="*/ 3162 h 367608"/>
              <a:gd name="connsiteX0" fmla="*/ 0 w 654938"/>
              <a:gd name="connsiteY0" fmla="*/ 3162 h 367608"/>
              <a:gd name="connsiteX1" fmla="*/ 43049 w 654938"/>
              <a:gd name="connsiteY1" fmla="*/ 3920 h 367608"/>
              <a:gd name="connsiteX2" fmla="*/ 57959 w 654938"/>
              <a:gd name="connsiteY2" fmla="*/ 0 h 367608"/>
              <a:gd name="connsiteX3" fmla="*/ 88310 w 654938"/>
              <a:gd name="connsiteY3" fmla="*/ 6290 h 367608"/>
              <a:gd name="connsiteX4" fmla="*/ 139597 w 654938"/>
              <a:gd name="connsiteY4" fmla="*/ 10893 h 367608"/>
              <a:gd name="connsiteX5" fmla="*/ 201978 w 654938"/>
              <a:gd name="connsiteY5" fmla="*/ 25552 h 367608"/>
              <a:gd name="connsiteX6" fmla="*/ 288965 w 654938"/>
              <a:gd name="connsiteY6" fmla="*/ 53437 h 367608"/>
              <a:gd name="connsiteX7" fmla="*/ 343589 w 654938"/>
              <a:gd name="connsiteY7" fmla="*/ 69627 h 367608"/>
              <a:gd name="connsiteX8" fmla="*/ 395185 w 654938"/>
              <a:gd name="connsiteY8" fmla="*/ 98991 h 367608"/>
              <a:gd name="connsiteX9" fmla="*/ 448382 w 654938"/>
              <a:gd name="connsiteY9" fmla="*/ 124386 h 367608"/>
              <a:gd name="connsiteX10" fmla="*/ 501583 w 654938"/>
              <a:gd name="connsiteY10" fmla="*/ 160890 h 367608"/>
              <a:gd name="connsiteX11" fmla="*/ 547311 w 654938"/>
              <a:gd name="connsiteY11" fmla="*/ 190100 h 367608"/>
              <a:gd name="connsiteX12" fmla="*/ 585749 w 654938"/>
              <a:gd name="connsiteY12" fmla="*/ 223591 h 367608"/>
              <a:gd name="connsiteX13" fmla="*/ 612611 w 654938"/>
              <a:gd name="connsiteY13" fmla="*/ 243232 h 367608"/>
              <a:gd name="connsiteX14" fmla="*/ 654938 w 654938"/>
              <a:gd name="connsiteY14" fmla="*/ 291670 h 367608"/>
              <a:gd name="connsiteX15" fmla="*/ 582035 w 654938"/>
              <a:gd name="connsiteY15" fmla="*/ 367608 h 367608"/>
              <a:gd name="connsiteX16" fmla="*/ 517496 w 654938"/>
              <a:gd name="connsiteY16" fmla="*/ 303186 h 367608"/>
              <a:gd name="connsiteX17" fmla="*/ 437018 w 654938"/>
              <a:gd name="connsiteY17" fmla="*/ 238738 h 367608"/>
              <a:gd name="connsiteX18" fmla="*/ 380817 w 654938"/>
              <a:gd name="connsiteY18" fmla="*/ 203498 h 367608"/>
              <a:gd name="connsiteX19" fmla="*/ 328429 w 654938"/>
              <a:gd name="connsiteY19" fmla="*/ 177304 h 367608"/>
              <a:gd name="connsiteX20" fmla="*/ 257946 w 654938"/>
              <a:gd name="connsiteY20" fmla="*/ 150791 h 367608"/>
              <a:gd name="connsiteX21" fmla="*/ 193335 w 654938"/>
              <a:gd name="connsiteY21" fmla="*/ 127616 h 367608"/>
              <a:gd name="connsiteX22" fmla="*/ 127927 w 654938"/>
              <a:gd name="connsiteY22" fmla="*/ 115552 h 367608"/>
              <a:gd name="connsiteX23" fmla="*/ 71096 w 654938"/>
              <a:gd name="connsiteY23" fmla="*/ 104602 h 367608"/>
              <a:gd name="connsiteX24" fmla="*/ 2133 w 654938"/>
              <a:gd name="connsiteY24" fmla="*/ 102884 h 367608"/>
              <a:gd name="connsiteX25" fmla="*/ 0 w 654938"/>
              <a:gd name="connsiteY25" fmla="*/ 3162 h 367608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88310 w 654938"/>
              <a:gd name="connsiteY3" fmla="*/ 3428 h 364746"/>
              <a:gd name="connsiteX4" fmla="*/ 139597 w 654938"/>
              <a:gd name="connsiteY4" fmla="*/ 8031 h 364746"/>
              <a:gd name="connsiteX5" fmla="*/ 201978 w 654938"/>
              <a:gd name="connsiteY5" fmla="*/ 22690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39597 w 654938"/>
              <a:gd name="connsiteY4" fmla="*/ 8031 h 364746"/>
              <a:gd name="connsiteX5" fmla="*/ 201978 w 654938"/>
              <a:gd name="connsiteY5" fmla="*/ 22690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01978 w 654938"/>
              <a:gd name="connsiteY5" fmla="*/ 22690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53934 w 654938"/>
              <a:gd name="connsiteY9" fmla="*/ 123906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53934 w 654938"/>
              <a:gd name="connsiteY9" fmla="*/ 123906 h 364746"/>
              <a:gd name="connsiteX10" fmla="*/ 505232 w 654938"/>
              <a:gd name="connsiteY10" fmla="*/ 160250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20378 w 654938"/>
              <a:gd name="connsiteY5" fmla="*/ 31900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53934 w 654938"/>
              <a:gd name="connsiteY9" fmla="*/ 123906 h 364746"/>
              <a:gd name="connsiteX10" fmla="*/ 505232 w 654938"/>
              <a:gd name="connsiteY10" fmla="*/ 160250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0 h 364446"/>
              <a:gd name="connsiteX1" fmla="*/ 43049 w 654938"/>
              <a:gd name="connsiteY1" fmla="*/ 758 h 364446"/>
              <a:gd name="connsiteX2" fmla="*/ 68902 w 654938"/>
              <a:gd name="connsiteY2" fmla="*/ 3507 h 364446"/>
              <a:gd name="connsiteX3" fmla="*/ 97828 w 654938"/>
              <a:gd name="connsiteY3" fmla="*/ 3924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581 w 654938"/>
              <a:gd name="connsiteY6" fmla="*/ 50913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97828 w 654938"/>
              <a:gd name="connsiteY3" fmla="*/ 3924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581 w 654938"/>
              <a:gd name="connsiteY6" fmla="*/ 50913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581 w 654938"/>
              <a:gd name="connsiteY6" fmla="*/ 50913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5248 w 654938"/>
              <a:gd name="connsiteY11" fmla="*/ 188681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5248 w 654938"/>
              <a:gd name="connsiteY11" fmla="*/ 188681 h 364446"/>
              <a:gd name="connsiteX12" fmla="*/ 581623 w 654938"/>
              <a:gd name="connsiteY12" fmla="*/ 223918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5248 w 654938"/>
              <a:gd name="connsiteY11" fmla="*/ 188681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49489 w 654938"/>
              <a:gd name="connsiteY9" fmla="*/ 130902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060 w 654938"/>
              <a:gd name="connsiteY5" fmla="*/ 35407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49489 w 654938"/>
              <a:gd name="connsiteY9" fmla="*/ 130902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1966 w 654938"/>
              <a:gd name="connsiteY4" fmla="*/ 20269 h 364446"/>
              <a:gd name="connsiteX5" fmla="*/ 220060 w 654938"/>
              <a:gd name="connsiteY5" fmla="*/ 35407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49489 w 654938"/>
              <a:gd name="connsiteY9" fmla="*/ 130902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80165 w 654938"/>
              <a:gd name="connsiteY3" fmla="*/ 6366 h 364446"/>
              <a:gd name="connsiteX4" fmla="*/ 110675 w 654938"/>
              <a:gd name="connsiteY4" fmla="*/ 10751 h 364446"/>
              <a:gd name="connsiteX5" fmla="*/ 151966 w 654938"/>
              <a:gd name="connsiteY5" fmla="*/ 20269 h 364446"/>
              <a:gd name="connsiteX6" fmla="*/ 220060 w 654938"/>
              <a:gd name="connsiteY6" fmla="*/ 35407 h 364446"/>
              <a:gd name="connsiteX7" fmla="*/ 296102 w 654938"/>
              <a:gd name="connsiteY7" fmla="*/ 56625 h 364446"/>
              <a:gd name="connsiteX8" fmla="*/ 346441 w 654938"/>
              <a:gd name="connsiteY8" fmla="*/ 78206 h 364446"/>
              <a:gd name="connsiteX9" fmla="*/ 398514 w 654938"/>
              <a:gd name="connsiteY9" fmla="*/ 101857 h 364446"/>
              <a:gd name="connsiteX10" fmla="*/ 449489 w 654938"/>
              <a:gd name="connsiteY10" fmla="*/ 130902 h 364446"/>
              <a:gd name="connsiteX11" fmla="*/ 506656 w 654938"/>
              <a:gd name="connsiteY11" fmla="*/ 165821 h 364446"/>
              <a:gd name="connsiteX12" fmla="*/ 541281 w 654938"/>
              <a:gd name="connsiteY12" fmla="*/ 190266 h 364446"/>
              <a:gd name="connsiteX13" fmla="*/ 581623 w 654938"/>
              <a:gd name="connsiteY13" fmla="*/ 223918 h 364446"/>
              <a:gd name="connsiteX14" fmla="*/ 621013 w 654938"/>
              <a:gd name="connsiteY14" fmla="*/ 254193 h 364446"/>
              <a:gd name="connsiteX15" fmla="*/ 654938 w 654938"/>
              <a:gd name="connsiteY15" fmla="*/ 288508 h 364446"/>
              <a:gd name="connsiteX16" fmla="*/ 582035 w 654938"/>
              <a:gd name="connsiteY16" fmla="*/ 364446 h 364446"/>
              <a:gd name="connsiteX17" fmla="*/ 517496 w 654938"/>
              <a:gd name="connsiteY17" fmla="*/ 300024 h 364446"/>
              <a:gd name="connsiteX18" fmla="*/ 437018 w 654938"/>
              <a:gd name="connsiteY18" fmla="*/ 235576 h 364446"/>
              <a:gd name="connsiteX19" fmla="*/ 380817 w 654938"/>
              <a:gd name="connsiteY19" fmla="*/ 200336 h 364446"/>
              <a:gd name="connsiteX20" fmla="*/ 328429 w 654938"/>
              <a:gd name="connsiteY20" fmla="*/ 174142 h 364446"/>
              <a:gd name="connsiteX21" fmla="*/ 257946 w 654938"/>
              <a:gd name="connsiteY21" fmla="*/ 147629 h 364446"/>
              <a:gd name="connsiteX22" fmla="*/ 193335 w 654938"/>
              <a:gd name="connsiteY22" fmla="*/ 124454 h 364446"/>
              <a:gd name="connsiteX23" fmla="*/ 127927 w 654938"/>
              <a:gd name="connsiteY23" fmla="*/ 112390 h 364446"/>
              <a:gd name="connsiteX24" fmla="*/ 71096 w 654938"/>
              <a:gd name="connsiteY24" fmla="*/ 101440 h 364446"/>
              <a:gd name="connsiteX25" fmla="*/ 2133 w 654938"/>
              <a:gd name="connsiteY25" fmla="*/ 99722 h 364446"/>
              <a:gd name="connsiteX26" fmla="*/ 0 w 654938"/>
              <a:gd name="connsiteY26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6 h 364446"/>
              <a:gd name="connsiteX3" fmla="*/ 80165 w 654938"/>
              <a:gd name="connsiteY3" fmla="*/ 6366 h 364446"/>
              <a:gd name="connsiteX4" fmla="*/ 110675 w 654938"/>
              <a:gd name="connsiteY4" fmla="*/ 10751 h 364446"/>
              <a:gd name="connsiteX5" fmla="*/ 151966 w 654938"/>
              <a:gd name="connsiteY5" fmla="*/ 20269 h 364446"/>
              <a:gd name="connsiteX6" fmla="*/ 220060 w 654938"/>
              <a:gd name="connsiteY6" fmla="*/ 35407 h 364446"/>
              <a:gd name="connsiteX7" fmla="*/ 296102 w 654938"/>
              <a:gd name="connsiteY7" fmla="*/ 56625 h 364446"/>
              <a:gd name="connsiteX8" fmla="*/ 346441 w 654938"/>
              <a:gd name="connsiteY8" fmla="*/ 78206 h 364446"/>
              <a:gd name="connsiteX9" fmla="*/ 398514 w 654938"/>
              <a:gd name="connsiteY9" fmla="*/ 101857 h 364446"/>
              <a:gd name="connsiteX10" fmla="*/ 449489 w 654938"/>
              <a:gd name="connsiteY10" fmla="*/ 130902 h 364446"/>
              <a:gd name="connsiteX11" fmla="*/ 506656 w 654938"/>
              <a:gd name="connsiteY11" fmla="*/ 165821 h 364446"/>
              <a:gd name="connsiteX12" fmla="*/ 541281 w 654938"/>
              <a:gd name="connsiteY12" fmla="*/ 190266 h 364446"/>
              <a:gd name="connsiteX13" fmla="*/ 581623 w 654938"/>
              <a:gd name="connsiteY13" fmla="*/ 223918 h 364446"/>
              <a:gd name="connsiteX14" fmla="*/ 621013 w 654938"/>
              <a:gd name="connsiteY14" fmla="*/ 254193 h 364446"/>
              <a:gd name="connsiteX15" fmla="*/ 654938 w 654938"/>
              <a:gd name="connsiteY15" fmla="*/ 288508 h 364446"/>
              <a:gd name="connsiteX16" fmla="*/ 582035 w 654938"/>
              <a:gd name="connsiteY16" fmla="*/ 364446 h 364446"/>
              <a:gd name="connsiteX17" fmla="*/ 517496 w 654938"/>
              <a:gd name="connsiteY17" fmla="*/ 300024 h 364446"/>
              <a:gd name="connsiteX18" fmla="*/ 437018 w 654938"/>
              <a:gd name="connsiteY18" fmla="*/ 235576 h 364446"/>
              <a:gd name="connsiteX19" fmla="*/ 380817 w 654938"/>
              <a:gd name="connsiteY19" fmla="*/ 200336 h 364446"/>
              <a:gd name="connsiteX20" fmla="*/ 328429 w 654938"/>
              <a:gd name="connsiteY20" fmla="*/ 174142 h 364446"/>
              <a:gd name="connsiteX21" fmla="*/ 257946 w 654938"/>
              <a:gd name="connsiteY21" fmla="*/ 147629 h 364446"/>
              <a:gd name="connsiteX22" fmla="*/ 193335 w 654938"/>
              <a:gd name="connsiteY22" fmla="*/ 124454 h 364446"/>
              <a:gd name="connsiteX23" fmla="*/ 127927 w 654938"/>
              <a:gd name="connsiteY23" fmla="*/ 112390 h 364446"/>
              <a:gd name="connsiteX24" fmla="*/ 71096 w 654938"/>
              <a:gd name="connsiteY24" fmla="*/ 101440 h 364446"/>
              <a:gd name="connsiteX25" fmla="*/ 2133 w 654938"/>
              <a:gd name="connsiteY25" fmla="*/ 99722 h 364446"/>
              <a:gd name="connsiteX26" fmla="*/ 0 w 654938"/>
              <a:gd name="connsiteY26" fmla="*/ 0 h 364446"/>
              <a:gd name="connsiteX0" fmla="*/ 0 w 654938"/>
              <a:gd name="connsiteY0" fmla="*/ 0 h 364446"/>
              <a:gd name="connsiteX1" fmla="*/ 38764 w 654938"/>
              <a:gd name="connsiteY1" fmla="*/ 6151 h 364446"/>
              <a:gd name="connsiteX2" fmla="*/ 68902 w 654938"/>
              <a:gd name="connsiteY2" fmla="*/ 3506 h 364446"/>
              <a:gd name="connsiteX3" fmla="*/ 80165 w 654938"/>
              <a:gd name="connsiteY3" fmla="*/ 6366 h 364446"/>
              <a:gd name="connsiteX4" fmla="*/ 110675 w 654938"/>
              <a:gd name="connsiteY4" fmla="*/ 10751 h 364446"/>
              <a:gd name="connsiteX5" fmla="*/ 151966 w 654938"/>
              <a:gd name="connsiteY5" fmla="*/ 20269 h 364446"/>
              <a:gd name="connsiteX6" fmla="*/ 220060 w 654938"/>
              <a:gd name="connsiteY6" fmla="*/ 35407 h 364446"/>
              <a:gd name="connsiteX7" fmla="*/ 296102 w 654938"/>
              <a:gd name="connsiteY7" fmla="*/ 56625 h 364446"/>
              <a:gd name="connsiteX8" fmla="*/ 346441 w 654938"/>
              <a:gd name="connsiteY8" fmla="*/ 78206 h 364446"/>
              <a:gd name="connsiteX9" fmla="*/ 398514 w 654938"/>
              <a:gd name="connsiteY9" fmla="*/ 101857 h 364446"/>
              <a:gd name="connsiteX10" fmla="*/ 449489 w 654938"/>
              <a:gd name="connsiteY10" fmla="*/ 130902 h 364446"/>
              <a:gd name="connsiteX11" fmla="*/ 506656 w 654938"/>
              <a:gd name="connsiteY11" fmla="*/ 165821 h 364446"/>
              <a:gd name="connsiteX12" fmla="*/ 541281 w 654938"/>
              <a:gd name="connsiteY12" fmla="*/ 190266 h 364446"/>
              <a:gd name="connsiteX13" fmla="*/ 581623 w 654938"/>
              <a:gd name="connsiteY13" fmla="*/ 223918 h 364446"/>
              <a:gd name="connsiteX14" fmla="*/ 621013 w 654938"/>
              <a:gd name="connsiteY14" fmla="*/ 254193 h 364446"/>
              <a:gd name="connsiteX15" fmla="*/ 654938 w 654938"/>
              <a:gd name="connsiteY15" fmla="*/ 288508 h 364446"/>
              <a:gd name="connsiteX16" fmla="*/ 582035 w 654938"/>
              <a:gd name="connsiteY16" fmla="*/ 364446 h 364446"/>
              <a:gd name="connsiteX17" fmla="*/ 517496 w 654938"/>
              <a:gd name="connsiteY17" fmla="*/ 300024 h 364446"/>
              <a:gd name="connsiteX18" fmla="*/ 437018 w 654938"/>
              <a:gd name="connsiteY18" fmla="*/ 235576 h 364446"/>
              <a:gd name="connsiteX19" fmla="*/ 380817 w 654938"/>
              <a:gd name="connsiteY19" fmla="*/ 200336 h 364446"/>
              <a:gd name="connsiteX20" fmla="*/ 328429 w 654938"/>
              <a:gd name="connsiteY20" fmla="*/ 174142 h 364446"/>
              <a:gd name="connsiteX21" fmla="*/ 257946 w 654938"/>
              <a:gd name="connsiteY21" fmla="*/ 147629 h 364446"/>
              <a:gd name="connsiteX22" fmla="*/ 193335 w 654938"/>
              <a:gd name="connsiteY22" fmla="*/ 124454 h 364446"/>
              <a:gd name="connsiteX23" fmla="*/ 127927 w 654938"/>
              <a:gd name="connsiteY23" fmla="*/ 112390 h 364446"/>
              <a:gd name="connsiteX24" fmla="*/ 71096 w 654938"/>
              <a:gd name="connsiteY24" fmla="*/ 101440 h 364446"/>
              <a:gd name="connsiteX25" fmla="*/ 2133 w 654938"/>
              <a:gd name="connsiteY25" fmla="*/ 99722 h 364446"/>
              <a:gd name="connsiteX26" fmla="*/ 0 w 654938"/>
              <a:gd name="connsiteY26" fmla="*/ 0 h 364446"/>
              <a:gd name="connsiteX0" fmla="*/ 0 w 655257"/>
              <a:gd name="connsiteY0" fmla="*/ 323 h 360961"/>
              <a:gd name="connsiteX1" fmla="*/ 39083 w 655257"/>
              <a:gd name="connsiteY1" fmla="*/ 2666 h 360961"/>
              <a:gd name="connsiteX2" fmla="*/ 69221 w 655257"/>
              <a:gd name="connsiteY2" fmla="*/ 21 h 360961"/>
              <a:gd name="connsiteX3" fmla="*/ 80484 w 655257"/>
              <a:gd name="connsiteY3" fmla="*/ 2881 h 360961"/>
              <a:gd name="connsiteX4" fmla="*/ 110994 w 655257"/>
              <a:gd name="connsiteY4" fmla="*/ 7266 h 360961"/>
              <a:gd name="connsiteX5" fmla="*/ 152285 w 655257"/>
              <a:gd name="connsiteY5" fmla="*/ 16784 h 360961"/>
              <a:gd name="connsiteX6" fmla="*/ 220379 w 655257"/>
              <a:gd name="connsiteY6" fmla="*/ 31922 h 360961"/>
              <a:gd name="connsiteX7" fmla="*/ 296421 w 655257"/>
              <a:gd name="connsiteY7" fmla="*/ 53140 h 360961"/>
              <a:gd name="connsiteX8" fmla="*/ 346760 w 655257"/>
              <a:gd name="connsiteY8" fmla="*/ 74721 h 360961"/>
              <a:gd name="connsiteX9" fmla="*/ 398833 w 655257"/>
              <a:gd name="connsiteY9" fmla="*/ 98372 h 360961"/>
              <a:gd name="connsiteX10" fmla="*/ 449808 w 655257"/>
              <a:gd name="connsiteY10" fmla="*/ 127417 h 360961"/>
              <a:gd name="connsiteX11" fmla="*/ 506975 w 655257"/>
              <a:gd name="connsiteY11" fmla="*/ 162336 h 360961"/>
              <a:gd name="connsiteX12" fmla="*/ 541600 w 655257"/>
              <a:gd name="connsiteY12" fmla="*/ 186781 h 360961"/>
              <a:gd name="connsiteX13" fmla="*/ 581942 w 655257"/>
              <a:gd name="connsiteY13" fmla="*/ 220433 h 360961"/>
              <a:gd name="connsiteX14" fmla="*/ 621332 w 655257"/>
              <a:gd name="connsiteY14" fmla="*/ 250708 h 360961"/>
              <a:gd name="connsiteX15" fmla="*/ 655257 w 655257"/>
              <a:gd name="connsiteY15" fmla="*/ 285023 h 360961"/>
              <a:gd name="connsiteX16" fmla="*/ 582354 w 655257"/>
              <a:gd name="connsiteY16" fmla="*/ 360961 h 360961"/>
              <a:gd name="connsiteX17" fmla="*/ 517815 w 655257"/>
              <a:gd name="connsiteY17" fmla="*/ 296539 h 360961"/>
              <a:gd name="connsiteX18" fmla="*/ 437337 w 655257"/>
              <a:gd name="connsiteY18" fmla="*/ 232091 h 360961"/>
              <a:gd name="connsiteX19" fmla="*/ 381136 w 655257"/>
              <a:gd name="connsiteY19" fmla="*/ 196851 h 360961"/>
              <a:gd name="connsiteX20" fmla="*/ 328748 w 655257"/>
              <a:gd name="connsiteY20" fmla="*/ 170657 h 360961"/>
              <a:gd name="connsiteX21" fmla="*/ 258265 w 655257"/>
              <a:gd name="connsiteY21" fmla="*/ 144144 h 360961"/>
              <a:gd name="connsiteX22" fmla="*/ 193654 w 655257"/>
              <a:gd name="connsiteY22" fmla="*/ 120969 h 360961"/>
              <a:gd name="connsiteX23" fmla="*/ 128246 w 655257"/>
              <a:gd name="connsiteY23" fmla="*/ 108905 h 360961"/>
              <a:gd name="connsiteX24" fmla="*/ 71415 w 655257"/>
              <a:gd name="connsiteY24" fmla="*/ 97955 h 360961"/>
              <a:gd name="connsiteX25" fmla="*/ 2452 w 655257"/>
              <a:gd name="connsiteY25" fmla="*/ 96237 h 360961"/>
              <a:gd name="connsiteX26" fmla="*/ 0 w 655257"/>
              <a:gd name="connsiteY26" fmla="*/ 323 h 360961"/>
              <a:gd name="connsiteX0" fmla="*/ 0 w 655257"/>
              <a:gd name="connsiteY0" fmla="*/ 0 h 360638"/>
              <a:gd name="connsiteX1" fmla="*/ 39083 w 655257"/>
              <a:gd name="connsiteY1" fmla="*/ 2343 h 360638"/>
              <a:gd name="connsiteX2" fmla="*/ 80484 w 655257"/>
              <a:gd name="connsiteY2" fmla="*/ 2558 h 360638"/>
              <a:gd name="connsiteX3" fmla="*/ 110994 w 655257"/>
              <a:gd name="connsiteY3" fmla="*/ 6943 h 360638"/>
              <a:gd name="connsiteX4" fmla="*/ 152285 w 655257"/>
              <a:gd name="connsiteY4" fmla="*/ 16461 h 360638"/>
              <a:gd name="connsiteX5" fmla="*/ 220379 w 655257"/>
              <a:gd name="connsiteY5" fmla="*/ 31599 h 360638"/>
              <a:gd name="connsiteX6" fmla="*/ 296421 w 655257"/>
              <a:gd name="connsiteY6" fmla="*/ 52817 h 360638"/>
              <a:gd name="connsiteX7" fmla="*/ 346760 w 655257"/>
              <a:gd name="connsiteY7" fmla="*/ 74398 h 360638"/>
              <a:gd name="connsiteX8" fmla="*/ 398833 w 655257"/>
              <a:gd name="connsiteY8" fmla="*/ 98049 h 360638"/>
              <a:gd name="connsiteX9" fmla="*/ 449808 w 655257"/>
              <a:gd name="connsiteY9" fmla="*/ 127094 h 360638"/>
              <a:gd name="connsiteX10" fmla="*/ 506975 w 655257"/>
              <a:gd name="connsiteY10" fmla="*/ 162013 h 360638"/>
              <a:gd name="connsiteX11" fmla="*/ 541600 w 655257"/>
              <a:gd name="connsiteY11" fmla="*/ 186458 h 360638"/>
              <a:gd name="connsiteX12" fmla="*/ 581942 w 655257"/>
              <a:gd name="connsiteY12" fmla="*/ 220110 h 360638"/>
              <a:gd name="connsiteX13" fmla="*/ 621332 w 655257"/>
              <a:gd name="connsiteY13" fmla="*/ 250385 h 360638"/>
              <a:gd name="connsiteX14" fmla="*/ 655257 w 655257"/>
              <a:gd name="connsiteY14" fmla="*/ 284700 h 360638"/>
              <a:gd name="connsiteX15" fmla="*/ 582354 w 655257"/>
              <a:gd name="connsiteY15" fmla="*/ 360638 h 360638"/>
              <a:gd name="connsiteX16" fmla="*/ 517815 w 655257"/>
              <a:gd name="connsiteY16" fmla="*/ 296216 h 360638"/>
              <a:gd name="connsiteX17" fmla="*/ 437337 w 655257"/>
              <a:gd name="connsiteY17" fmla="*/ 231768 h 360638"/>
              <a:gd name="connsiteX18" fmla="*/ 381136 w 655257"/>
              <a:gd name="connsiteY18" fmla="*/ 196528 h 360638"/>
              <a:gd name="connsiteX19" fmla="*/ 328748 w 655257"/>
              <a:gd name="connsiteY19" fmla="*/ 170334 h 360638"/>
              <a:gd name="connsiteX20" fmla="*/ 258265 w 655257"/>
              <a:gd name="connsiteY20" fmla="*/ 143821 h 360638"/>
              <a:gd name="connsiteX21" fmla="*/ 193654 w 655257"/>
              <a:gd name="connsiteY21" fmla="*/ 120646 h 360638"/>
              <a:gd name="connsiteX22" fmla="*/ 128246 w 655257"/>
              <a:gd name="connsiteY22" fmla="*/ 108582 h 360638"/>
              <a:gd name="connsiteX23" fmla="*/ 71415 w 655257"/>
              <a:gd name="connsiteY23" fmla="*/ 97632 h 360638"/>
              <a:gd name="connsiteX24" fmla="*/ 2452 w 655257"/>
              <a:gd name="connsiteY24" fmla="*/ 95914 h 360638"/>
              <a:gd name="connsiteX25" fmla="*/ 0 w 655257"/>
              <a:gd name="connsiteY25" fmla="*/ 0 h 360638"/>
              <a:gd name="connsiteX0" fmla="*/ 0 w 655257"/>
              <a:gd name="connsiteY0" fmla="*/ 0 h 360638"/>
              <a:gd name="connsiteX1" fmla="*/ 39083 w 655257"/>
              <a:gd name="connsiteY1" fmla="*/ 2343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54472 w 655257"/>
              <a:gd name="connsiteY1" fmla="*/ 1715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54472 w 655257"/>
              <a:gd name="connsiteY1" fmla="*/ 1715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62088 w 655257"/>
              <a:gd name="connsiteY1" fmla="*/ 2353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62088 w 655257"/>
              <a:gd name="connsiteY1" fmla="*/ 2353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173 w 655257"/>
              <a:gd name="connsiteY12" fmla="*/ 252289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52996"/>
              <a:gd name="connsiteX1" fmla="*/ 62088 w 655257"/>
              <a:gd name="connsiteY1" fmla="*/ 2353 h 352996"/>
              <a:gd name="connsiteX2" fmla="*/ 110994 w 655257"/>
              <a:gd name="connsiteY2" fmla="*/ 6943 h 352996"/>
              <a:gd name="connsiteX3" fmla="*/ 152285 w 655257"/>
              <a:gd name="connsiteY3" fmla="*/ 16461 h 352996"/>
              <a:gd name="connsiteX4" fmla="*/ 220379 w 655257"/>
              <a:gd name="connsiteY4" fmla="*/ 31599 h 352996"/>
              <a:gd name="connsiteX5" fmla="*/ 296421 w 655257"/>
              <a:gd name="connsiteY5" fmla="*/ 52817 h 352996"/>
              <a:gd name="connsiteX6" fmla="*/ 346760 w 655257"/>
              <a:gd name="connsiteY6" fmla="*/ 74398 h 352996"/>
              <a:gd name="connsiteX7" fmla="*/ 398833 w 655257"/>
              <a:gd name="connsiteY7" fmla="*/ 98049 h 352996"/>
              <a:gd name="connsiteX8" fmla="*/ 449808 w 655257"/>
              <a:gd name="connsiteY8" fmla="*/ 127094 h 352996"/>
              <a:gd name="connsiteX9" fmla="*/ 506975 w 655257"/>
              <a:gd name="connsiteY9" fmla="*/ 162013 h 352996"/>
              <a:gd name="connsiteX10" fmla="*/ 541600 w 655257"/>
              <a:gd name="connsiteY10" fmla="*/ 186458 h 352996"/>
              <a:gd name="connsiteX11" fmla="*/ 581942 w 655257"/>
              <a:gd name="connsiteY11" fmla="*/ 220110 h 352996"/>
              <a:gd name="connsiteX12" fmla="*/ 621173 w 655257"/>
              <a:gd name="connsiteY12" fmla="*/ 252289 h 352996"/>
              <a:gd name="connsiteX13" fmla="*/ 655257 w 655257"/>
              <a:gd name="connsiteY13" fmla="*/ 284700 h 352996"/>
              <a:gd name="connsiteX14" fmla="*/ 589996 w 655257"/>
              <a:gd name="connsiteY14" fmla="*/ 352996 h 352996"/>
              <a:gd name="connsiteX15" fmla="*/ 517815 w 655257"/>
              <a:gd name="connsiteY15" fmla="*/ 296216 h 352996"/>
              <a:gd name="connsiteX16" fmla="*/ 437337 w 655257"/>
              <a:gd name="connsiteY16" fmla="*/ 231768 h 352996"/>
              <a:gd name="connsiteX17" fmla="*/ 381136 w 655257"/>
              <a:gd name="connsiteY17" fmla="*/ 196528 h 352996"/>
              <a:gd name="connsiteX18" fmla="*/ 328748 w 655257"/>
              <a:gd name="connsiteY18" fmla="*/ 170334 h 352996"/>
              <a:gd name="connsiteX19" fmla="*/ 258265 w 655257"/>
              <a:gd name="connsiteY19" fmla="*/ 143821 h 352996"/>
              <a:gd name="connsiteX20" fmla="*/ 193654 w 655257"/>
              <a:gd name="connsiteY20" fmla="*/ 120646 h 352996"/>
              <a:gd name="connsiteX21" fmla="*/ 128246 w 655257"/>
              <a:gd name="connsiteY21" fmla="*/ 108582 h 352996"/>
              <a:gd name="connsiteX22" fmla="*/ 71415 w 655257"/>
              <a:gd name="connsiteY22" fmla="*/ 97632 h 352996"/>
              <a:gd name="connsiteX23" fmla="*/ 2452 w 655257"/>
              <a:gd name="connsiteY23" fmla="*/ 95914 h 352996"/>
              <a:gd name="connsiteX24" fmla="*/ 0 w 655257"/>
              <a:gd name="connsiteY24" fmla="*/ 0 h 352996"/>
              <a:gd name="connsiteX0" fmla="*/ 0 w 655257"/>
              <a:gd name="connsiteY0" fmla="*/ 0 h 352996"/>
              <a:gd name="connsiteX1" fmla="*/ 62088 w 655257"/>
              <a:gd name="connsiteY1" fmla="*/ 2353 h 352996"/>
              <a:gd name="connsiteX2" fmla="*/ 110994 w 655257"/>
              <a:gd name="connsiteY2" fmla="*/ 6943 h 352996"/>
              <a:gd name="connsiteX3" fmla="*/ 152285 w 655257"/>
              <a:gd name="connsiteY3" fmla="*/ 16461 h 352996"/>
              <a:gd name="connsiteX4" fmla="*/ 220379 w 655257"/>
              <a:gd name="connsiteY4" fmla="*/ 31599 h 352996"/>
              <a:gd name="connsiteX5" fmla="*/ 296421 w 655257"/>
              <a:gd name="connsiteY5" fmla="*/ 52817 h 352996"/>
              <a:gd name="connsiteX6" fmla="*/ 346760 w 655257"/>
              <a:gd name="connsiteY6" fmla="*/ 74398 h 352996"/>
              <a:gd name="connsiteX7" fmla="*/ 398833 w 655257"/>
              <a:gd name="connsiteY7" fmla="*/ 98049 h 352996"/>
              <a:gd name="connsiteX8" fmla="*/ 449808 w 655257"/>
              <a:gd name="connsiteY8" fmla="*/ 127094 h 352996"/>
              <a:gd name="connsiteX9" fmla="*/ 506975 w 655257"/>
              <a:gd name="connsiteY9" fmla="*/ 162013 h 352996"/>
              <a:gd name="connsiteX10" fmla="*/ 541600 w 655257"/>
              <a:gd name="connsiteY10" fmla="*/ 186458 h 352996"/>
              <a:gd name="connsiteX11" fmla="*/ 581942 w 655257"/>
              <a:gd name="connsiteY11" fmla="*/ 220110 h 352996"/>
              <a:gd name="connsiteX12" fmla="*/ 621173 w 655257"/>
              <a:gd name="connsiteY12" fmla="*/ 252289 h 352996"/>
              <a:gd name="connsiteX13" fmla="*/ 655257 w 655257"/>
              <a:gd name="connsiteY13" fmla="*/ 284700 h 352996"/>
              <a:gd name="connsiteX14" fmla="*/ 589996 w 655257"/>
              <a:gd name="connsiteY14" fmla="*/ 352996 h 352996"/>
              <a:gd name="connsiteX15" fmla="*/ 521636 w 655257"/>
              <a:gd name="connsiteY15" fmla="*/ 290484 h 352996"/>
              <a:gd name="connsiteX16" fmla="*/ 437337 w 655257"/>
              <a:gd name="connsiteY16" fmla="*/ 231768 h 352996"/>
              <a:gd name="connsiteX17" fmla="*/ 381136 w 655257"/>
              <a:gd name="connsiteY17" fmla="*/ 196528 h 352996"/>
              <a:gd name="connsiteX18" fmla="*/ 328748 w 655257"/>
              <a:gd name="connsiteY18" fmla="*/ 170334 h 352996"/>
              <a:gd name="connsiteX19" fmla="*/ 258265 w 655257"/>
              <a:gd name="connsiteY19" fmla="*/ 143821 h 352996"/>
              <a:gd name="connsiteX20" fmla="*/ 193654 w 655257"/>
              <a:gd name="connsiteY20" fmla="*/ 120646 h 352996"/>
              <a:gd name="connsiteX21" fmla="*/ 128246 w 655257"/>
              <a:gd name="connsiteY21" fmla="*/ 108582 h 352996"/>
              <a:gd name="connsiteX22" fmla="*/ 71415 w 655257"/>
              <a:gd name="connsiteY22" fmla="*/ 97632 h 352996"/>
              <a:gd name="connsiteX23" fmla="*/ 2452 w 655257"/>
              <a:gd name="connsiteY23" fmla="*/ 95914 h 352996"/>
              <a:gd name="connsiteX24" fmla="*/ 0 w 655257"/>
              <a:gd name="connsiteY24" fmla="*/ 0 h 352996"/>
              <a:gd name="connsiteX0" fmla="*/ 0 w 655257"/>
              <a:gd name="connsiteY0" fmla="*/ 0 h 352996"/>
              <a:gd name="connsiteX1" fmla="*/ 62088 w 655257"/>
              <a:gd name="connsiteY1" fmla="*/ 2353 h 352996"/>
              <a:gd name="connsiteX2" fmla="*/ 110994 w 655257"/>
              <a:gd name="connsiteY2" fmla="*/ 6943 h 352996"/>
              <a:gd name="connsiteX3" fmla="*/ 152285 w 655257"/>
              <a:gd name="connsiteY3" fmla="*/ 16461 h 352996"/>
              <a:gd name="connsiteX4" fmla="*/ 220379 w 655257"/>
              <a:gd name="connsiteY4" fmla="*/ 31599 h 352996"/>
              <a:gd name="connsiteX5" fmla="*/ 296421 w 655257"/>
              <a:gd name="connsiteY5" fmla="*/ 52817 h 352996"/>
              <a:gd name="connsiteX6" fmla="*/ 346760 w 655257"/>
              <a:gd name="connsiteY6" fmla="*/ 74398 h 352996"/>
              <a:gd name="connsiteX7" fmla="*/ 398833 w 655257"/>
              <a:gd name="connsiteY7" fmla="*/ 98049 h 352996"/>
              <a:gd name="connsiteX8" fmla="*/ 449808 w 655257"/>
              <a:gd name="connsiteY8" fmla="*/ 127094 h 352996"/>
              <a:gd name="connsiteX9" fmla="*/ 506975 w 655257"/>
              <a:gd name="connsiteY9" fmla="*/ 162013 h 352996"/>
              <a:gd name="connsiteX10" fmla="*/ 541600 w 655257"/>
              <a:gd name="connsiteY10" fmla="*/ 186458 h 352996"/>
              <a:gd name="connsiteX11" fmla="*/ 581942 w 655257"/>
              <a:gd name="connsiteY11" fmla="*/ 220110 h 352996"/>
              <a:gd name="connsiteX12" fmla="*/ 621173 w 655257"/>
              <a:gd name="connsiteY12" fmla="*/ 252289 h 352996"/>
              <a:gd name="connsiteX13" fmla="*/ 655257 w 655257"/>
              <a:gd name="connsiteY13" fmla="*/ 284700 h 352996"/>
              <a:gd name="connsiteX14" fmla="*/ 589996 w 655257"/>
              <a:gd name="connsiteY14" fmla="*/ 352996 h 352996"/>
              <a:gd name="connsiteX15" fmla="*/ 521636 w 655257"/>
              <a:gd name="connsiteY15" fmla="*/ 290484 h 352996"/>
              <a:gd name="connsiteX16" fmla="*/ 448800 w 655257"/>
              <a:gd name="connsiteY16" fmla="*/ 235589 h 352996"/>
              <a:gd name="connsiteX17" fmla="*/ 381136 w 655257"/>
              <a:gd name="connsiteY17" fmla="*/ 196528 h 352996"/>
              <a:gd name="connsiteX18" fmla="*/ 328748 w 655257"/>
              <a:gd name="connsiteY18" fmla="*/ 170334 h 352996"/>
              <a:gd name="connsiteX19" fmla="*/ 258265 w 655257"/>
              <a:gd name="connsiteY19" fmla="*/ 143821 h 352996"/>
              <a:gd name="connsiteX20" fmla="*/ 193654 w 655257"/>
              <a:gd name="connsiteY20" fmla="*/ 120646 h 352996"/>
              <a:gd name="connsiteX21" fmla="*/ 128246 w 655257"/>
              <a:gd name="connsiteY21" fmla="*/ 108582 h 352996"/>
              <a:gd name="connsiteX22" fmla="*/ 71415 w 655257"/>
              <a:gd name="connsiteY22" fmla="*/ 97632 h 352996"/>
              <a:gd name="connsiteX23" fmla="*/ 2452 w 655257"/>
              <a:gd name="connsiteY23" fmla="*/ 95914 h 352996"/>
              <a:gd name="connsiteX24" fmla="*/ 0 w 655257"/>
              <a:gd name="connsiteY24" fmla="*/ 0 h 352996"/>
              <a:gd name="connsiteX0" fmla="*/ 1711 w 656968"/>
              <a:gd name="connsiteY0" fmla="*/ 0 h 352996"/>
              <a:gd name="connsiteX1" fmla="*/ 63799 w 656968"/>
              <a:gd name="connsiteY1" fmla="*/ 2353 h 352996"/>
              <a:gd name="connsiteX2" fmla="*/ 112705 w 656968"/>
              <a:gd name="connsiteY2" fmla="*/ 6943 h 352996"/>
              <a:gd name="connsiteX3" fmla="*/ 153996 w 656968"/>
              <a:gd name="connsiteY3" fmla="*/ 16461 h 352996"/>
              <a:gd name="connsiteX4" fmla="*/ 222090 w 656968"/>
              <a:gd name="connsiteY4" fmla="*/ 31599 h 352996"/>
              <a:gd name="connsiteX5" fmla="*/ 298132 w 656968"/>
              <a:gd name="connsiteY5" fmla="*/ 52817 h 352996"/>
              <a:gd name="connsiteX6" fmla="*/ 348471 w 656968"/>
              <a:gd name="connsiteY6" fmla="*/ 74398 h 352996"/>
              <a:gd name="connsiteX7" fmla="*/ 400544 w 656968"/>
              <a:gd name="connsiteY7" fmla="*/ 98049 h 352996"/>
              <a:gd name="connsiteX8" fmla="*/ 451519 w 656968"/>
              <a:gd name="connsiteY8" fmla="*/ 127094 h 352996"/>
              <a:gd name="connsiteX9" fmla="*/ 508686 w 656968"/>
              <a:gd name="connsiteY9" fmla="*/ 162013 h 352996"/>
              <a:gd name="connsiteX10" fmla="*/ 543311 w 656968"/>
              <a:gd name="connsiteY10" fmla="*/ 186458 h 352996"/>
              <a:gd name="connsiteX11" fmla="*/ 583653 w 656968"/>
              <a:gd name="connsiteY11" fmla="*/ 220110 h 352996"/>
              <a:gd name="connsiteX12" fmla="*/ 622884 w 656968"/>
              <a:gd name="connsiteY12" fmla="*/ 252289 h 352996"/>
              <a:gd name="connsiteX13" fmla="*/ 656968 w 656968"/>
              <a:gd name="connsiteY13" fmla="*/ 284700 h 352996"/>
              <a:gd name="connsiteX14" fmla="*/ 591707 w 656968"/>
              <a:gd name="connsiteY14" fmla="*/ 352996 h 352996"/>
              <a:gd name="connsiteX15" fmla="*/ 523347 w 656968"/>
              <a:gd name="connsiteY15" fmla="*/ 290484 h 352996"/>
              <a:gd name="connsiteX16" fmla="*/ 450511 w 656968"/>
              <a:gd name="connsiteY16" fmla="*/ 235589 h 352996"/>
              <a:gd name="connsiteX17" fmla="*/ 382847 w 656968"/>
              <a:gd name="connsiteY17" fmla="*/ 196528 h 352996"/>
              <a:gd name="connsiteX18" fmla="*/ 330459 w 656968"/>
              <a:gd name="connsiteY18" fmla="*/ 170334 h 352996"/>
              <a:gd name="connsiteX19" fmla="*/ 259976 w 656968"/>
              <a:gd name="connsiteY19" fmla="*/ 143821 h 352996"/>
              <a:gd name="connsiteX20" fmla="*/ 195365 w 656968"/>
              <a:gd name="connsiteY20" fmla="*/ 120646 h 352996"/>
              <a:gd name="connsiteX21" fmla="*/ 129957 w 656968"/>
              <a:gd name="connsiteY21" fmla="*/ 108582 h 352996"/>
              <a:gd name="connsiteX22" fmla="*/ 73126 w 656968"/>
              <a:gd name="connsiteY22" fmla="*/ 97632 h 352996"/>
              <a:gd name="connsiteX23" fmla="*/ 341 w 656968"/>
              <a:gd name="connsiteY23" fmla="*/ 97824 h 352996"/>
              <a:gd name="connsiteX24" fmla="*/ 1711 w 656968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195564 w 657167"/>
              <a:gd name="connsiteY20" fmla="*/ 120646 h 352996"/>
              <a:gd name="connsiteX21" fmla="*/ 130156 w 657167"/>
              <a:gd name="connsiteY21" fmla="*/ 108582 h 352996"/>
              <a:gd name="connsiteX22" fmla="*/ 73325 w 657167"/>
              <a:gd name="connsiteY22" fmla="*/ 9763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195564 w 657167"/>
              <a:gd name="connsiteY20" fmla="*/ 120646 h 352996"/>
              <a:gd name="connsiteX21" fmla="*/ 130156 w 657167"/>
              <a:gd name="connsiteY21" fmla="*/ 108582 h 352996"/>
              <a:gd name="connsiteX22" fmla="*/ 73325 w 657167"/>
              <a:gd name="connsiteY22" fmla="*/ 9954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195564 w 657167"/>
              <a:gd name="connsiteY20" fmla="*/ 120646 h 352996"/>
              <a:gd name="connsiteX21" fmla="*/ 137798 w 657167"/>
              <a:gd name="connsiteY21" fmla="*/ 110493 h 352996"/>
              <a:gd name="connsiteX22" fmla="*/ 73325 w 657167"/>
              <a:gd name="connsiteY22" fmla="*/ 9954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207026 w 657167"/>
              <a:gd name="connsiteY20" fmla="*/ 120646 h 352996"/>
              <a:gd name="connsiteX21" fmla="*/ 137798 w 657167"/>
              <a:gd name="connsiteY21" fmla="*/ 110493 h 352996"/>
              <a:gd name="connsiteX22" fmla="*/ 73325 w 657167"/>
              <a:gd name="connsiteY22" fmla="*/ 9954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30071"/>
              <a:gd name="connsiteX1" fmla="*/ 63998 w 657167"/>
              <a:gd name="connsiteY1" fmla="*/ 2353 h 330071"/>
              <a:gd name="connsiteX2" fmla="*/ 112904 w 657167"/>
              <a:gd name="connsiteY2" fmla="*/ 6943 h 330071"/>
              <a:gd name="connsiteX3" fmla="*/ 154195 w 657167"/>
              <a:gd name="connsiteY3" fmla="*/ 16461 h 330071"/>
              <a:gd name="connsiteX4" fmla="*/ 222289 w 657167"/>
              <a:gd name="connsiteY4" fmla="*/ 31599 h 330071"/>
              <a:gd name="connsiteX5" fmla="*/ 298331 w 657167"/>
              <a:gd name="connsiteY5" fmla="*/ 52817 h 330071"/>
              <a:gd name="connsiteX6" fmla="*/ 348670 w 657167"/>
              <a:gd name="connsiteY6" fmla="*/ 74398 h 330071"/>
              <a:gd name="connsiteX7" fmla="*/ 400743 w 657167"/>
              <a:gd name="connsiteY7" fmla="*/ 98049 h 330071"/>
              <a:gd name="connsiteX8" fmla="*/ 451718 w 657167"/>
              <a:gd name="connsiteY8" fmla="*/ 127094 h 330071"/>
              <a:gd name="connsiteX9" fmla="*/ 508885 w 657167"/>
              <a:gd name="connsiteY9" fmla="*/ 162013 h 330071"/>
              <a:gd name="connsiteX10" fmla="*/ 543510 w 657167"/>
              <a:gd name="connsiteY10" fmla="*/ 186458 h 330071"/>
              <a:gd name="connsiteX11" fmla="*/ 583852 w 657167"/>
              <a:gd name="connsiteY11" fmla="*/ 220110 h 330071"/>
              <a:gd name="connsiteX12" fmla="*/ 623083 w 657167"/>
              <a:gd name="connsiteY12" fmla="*/ 252289 h 330071"/>
              <a:gd name="connsiteX13" fmla="*/ 657167 w 657167"/>
              <a:gd name="connsiteY13" fmla="*/ 284700 h 330071"/>
              <a:gd name="connsiteX14" fmla="*/ 563886 w 657167"/>
              <a:gd name="connsiteY14" fmla="*/ 330071 h 330071"/>
              <a:gd name="connsiteX15" fmla="*/ 523546 w 657167"/>
              <a:gd name="connsiteY15" fmla="*/ 290484 h 330071"/>
              <a:gd name="connsiteX16" fmla="*/ 450710 w 657167"/>
              <a:gd name="connsiteY16" fmla="*/ 235589 h 330071"/>
              <a:gd name="connsiteX17" fmla="*/ 383046 w 657167"/>
              <a:gd name="connsiteY17" fmla="*/ 196528 h 330071"/>
              <a:gd name="connsiteX18" fmla="*/ 330658 w 657167"/>
              <a:gd name="connsiteY18" fmla="*/ 170334 h 330071"/>
              <a:gd name="connsiteX19" fmla="*/ 260175 w 657167"/>
              <a:gd name="connsiteY19" fmla="*/ 143821 h 330071"/>
              <a:gd name="connsiteX20" fmla="*/ 207026 w 657167"/>
              <a:gd name="connsiteY20" fmla="*/ 120646 h 330071"/>
              <a:gd name="connsiteX21" fmla="*/ 137798 w 657167"/>
              <a:gd name="connsiteY21" fmla="*/ 110493 h 330071"/>
              <a:gd name="connsiteX22" fmla="*/ 73325 w 657167"/>
              <a:gd name="connsiteY22" fmla="*/ 99542 h 330071"/>
              <a:gd name="connsiteX23" fmla="*/ 540 w 657167"/>
              <a:gd name="connsiteY23" fmla="*/ 97824 h 330071"/>
              <a:gd name="connsiteX24" fmla="*/ 0 w 657167"/>
              <a:gd name="connsiteY24" fmla="*/ 0 h 330071"/>
              <a:gd name="connsiteX0" fmla="*/ 0 w 657305"/>
              <a:gd name="connsiteY0" fmla="*/ 0 h 330071"/>
              <a:gd name="connsiteX1" fmla="*/ 63998 w 657305"/>
              <a:gd name="connsiteY1" fmla="*/ 2353 h 330071"/>
              <a:gd name="connsiteX2" fmla="*/ 112904 w 657305"/>
              <a:gd name="connsiteY2" fmla="*/ 6943 h 330071"/>
              <a:gd name="connsiteX3" fmla="*/ 154195 w 657305"/>
              <a:gd name="connsiteY3" fmla="*/ 16461 h 330071"/>
              <a:gd name="connsiteX4" fmla="*/ 222289 w 657305"/>
              <a:gd name="connsiteY4" fmla="*/ 31599 h 330071"/>
              <a:gd name="connsiteX5" fmla="*/ 298331 w 657305"/>
              <a:gd name="connsiteY5" fmla="*/ 52817 h 330071"/>
              <a:gd name="connsiteX6" fmla="*/ 348670 w 657305"/>
              <a:gd name="connsiteY6" fmla="*/ 74398 h 330071"/>
              <a:gd name="connsiteX7" fmla="*/ 400743 w 657305"/>
              <a:gd name="connsiteY7" fmla="*/ 98049 h 330071"/>
              <a:gd name="connsiteX8" fmla="*/ 451718 w 657305"/>
              <a:gd name="connsiteY8" fmla="*/ 127094 h 330071"/>
              <a:gd name="connsiteX9" fmla="*/ 508885 w 657305"/>
              <a:gd name="connsiteY9" fmla="*/ 162013 h 330071"/>
              <a:gd name="connsiteX10" fmla="*/ 543510 w 657305"/>
              <a:gd name="connsiteY10" fmla="*/ 186458 h 330071"/>
              <a:gd name="connsiteX11" fmla="*/ 583852 w 657305"/>
              <a:gd name="connsiteY11" fmla="*/ 220110 h 330071"/>
              <a:gd name="connsiteX12" fmla="*/ 657167 w 657305"/>
              <a:gd name="connsiteY12" fmla="*/ 284700 h 330071"/>
              <a:gd name="connsiteX13" fmla="*/ 563886 w 657305"/>
              <a:gd name="connsiteY13" fmla="*/ 330071 h 330071"/>
              <a:gd name="connsiteX14" fmla="*/ 523546 w 657305"/>
              <a:gd name="connsiteY14" fmla="*/ 290484 h 330071"/>
              <a:gd name="connsiteX15" fmla="*/ 450710 w 657305"/>
              <a:gd name="connsiteY15" fmla="*/ 235589 h 330071"/>
              <a:gd name="connsiteX16" fmla="*/ 383046 w 657305"/>
              <a:gd name="connsiteY16" fmla="*/ 196528 h 330071"/>
              <a:gd name="connsiteX17" fmla="*/ 330658 w 657305"/>
              <a:gd name="connsiteY17" fmla="*/ 170334 h 330071"/>
              <a:gd name="connsiteX18" fmla="*/ 260175 w 657305"/>
              <a:gd name="connsiteY18" fmla="*/ 143821 h 330071"/>
              <a:gd name="connsiteX19" fmla="*/ 207026 w 657305"/>
              <a:gd name="connsiteY19" fmla="*/ 120646 h 330071"/>
              <a:gd name="connsiteX20" fmla="*/ 137798 w 657305"/>
              <a:gd name="connsiteY20" fmla="*/ 110493 h 330071"/>
              <a:gd name="connsiteX21" fmla="*/ 73325 w 657305"/>
              <a:gd name="connsiteY21" fmla="*/ 99542 h 330071"/>
              <a:gd name="connsiteX22" fmla="*/ 540 w 657305"/>
              <a:gd name="connsiteY22" fmla="*/ 97824 h 330071"/>
              <a:gd name="connsiteX23" fmla="*/ 0 w 657305"/>
              <a:gd name="connsiteY23" fmla="*/ 0 h 330071"/>
              <a:gd name="connsiteX0" fmla="*/ 0 w 657167"/>
              <a:gd name="connsiteY0" fmla="*/ 0 h 330071"/>
              <a:gd name="connsiteX1" fmla="*/ 63998 w 657167"/>
              <a:gd name="connsiteY1" fmla="*/ 2353 h 330071"/>
              <a:gd name="connsiteX2" fmla="*/ 112904 w 657167"/>
              <a:gd name="connsiteY2" fmla="*/ 6943 h 330071"/>
              <a:gd name="connsiteX3" fmla="*/ 154195 w 657167"/>
              <a:gd name="connsiteY3" fmla="*/ 16461 h 330071"/>
              <a:gd name="connsiteX4" fmla="*/ 222289 w 657167"/>
              <a:gd name="connsiteY4" fmla="*/ 31599 h 330071"/>
              <a:gd name="connsiteX5" fmla="*/ 298331 w 657167"/>
              <a:gd name="connsiteY5" fmla="*/ 52817 h 330071"/>
              <a:gd name="connsiteX6" fmla="*/ 348670 w 657167"/>
              <a:gd name="connsiteY6" fmla="*/ 74398 h 330071"/>
              <a:gd name="connsiteX7" fmla="*/ 400743 w 657167"/>
              <a:gd name="connsiteY7" fmla="*/ 98049 h 330071"/>
              <a:gd name="connsiteX8" fmla="*/ 451718 w 657167"/>
              <a:gd name="connsiteY8" fmla="*/ 127094 h 330071"/>
              <a:gd name="connsiteX9" fmla="*/ 508885 w 657167"/>
              <a:gd name="connsiteY9" fmla="*/ 162013 h 330071"/>
              <a:gd name="connsiteX10" fmla="*/ 543510 w 657167"/>
              <a:gd name="connsiteY10" fmla="*/ 186458 h 330071"/>
              <a:gd name="connsiteX11" fmla="*/ 583852 w 657167"/>
              <a:gd name="connsiteY11" fmla="*/ 220110 h 330071"/>
              <a:gd name="connsiteX12" fmla="*/ 657167 w 657167"/>
              <a:gd name="connsiteY12" fmla="*/ 284700 h 330071"/>
              <a:gd name="connsiteX13" fmla="*/ 563886 w 657167"/>
              <a:gd name="connsiteY13" fmla="*/ 330071 h 330071"/>
              <a:gd name="connsiteX14" fmla="*/ 523546 w 657167"/>
              <a:gd name="connsiteY14" fmla="*/ 290484 h 330071"/>
              <a:gd name="connsiteX15" fmla="*/ 450710 w 657167"/>
              <a:gd name="connsiteY15" fmla="*/ 235589 h 330071"/>
              <a:gd name="connsiteX16" fmla="*/ 383046 w 657167"/>
              <a:gd name="connsiteY16" fmla="*/ 196528 h 330071"/>
              <a:gd name="connsiteX17" fmla="*/ 330658 w 657167"/>
              <a:gd name="connsiteY17" fmla="*/ 170334 h 330071"/>
              <a:gd name="connsiteX18" fmla="*/ 260175 w 657167"/>
              <a:gd name="connsiteY18" fmla="*/ 143821 h 330071"/>
              <a:gd name="connsiteX19" fmla="*/ 207026 w 657167"/>
              <a:gd name="connsiteY19" fmla="*/ 120646 h 330071"/>
              <a:gd name="connsiteX20" fmla="*/ 137798 w 657167"/>
              <a:gd name="connsiteY20" fmla="*/ 110493 h 330071"/>
              <a:gd name="connsiteX21" fmla="*/ 73325 w 657167"/>
              <a:gd name="connsiteY21" fmla="*/ 99542 h 330071"/>
              <a:gd name="connsiteX22" fmla="*/ 540 w 657167"/>
              <a:gd name="connsiteY22" fmla="*/ 97824 h 330071"/>
              <a:gd name="connsiteX23" fmla="*/ 0 w 657167"/>
              <a:gd name="connsiteY23" fmla="*/ 0 h 330071"/>
              <a:gd name="connsiteX0" fmla="*/ 0 w 636152"/>
              <a:gd name="connsiteY0" fmla="*/ 0 h 330071"/>
              <a:gd name="connsiteX1" fmla="*/ 63998 w 636152"/>
              <a:gd name="connsiteY1" fmla="*/ 2353 h 330071"/>
              <a:gd name="connsiteX2" fmla="*/ 112904 w 636152"/>
              <a:gd name="connsiteY2" fmla="*/ 6943 h 330071"/>
              <a:gd name="connsiteX3" fmla="*/ 154195 w 636152"/>
              <a:gd name="connsiteY3" fmla="*/ 16461 h 330071"/>
              <a:gd name="connsiteX4" fmla="*/ 222289 w 636152"/>
              <a:gd name="connsiteY4" fmla="*/ 31599 h 330071"/>
              <a:gd name="connsiteX5" fmla="*/ 298331 w 636152"/>
              <a:gd name="connsiteY5" fmla="*/ 52817 h 330071"/>
              <a:gd name="connsiteX6" fmla="*/ 348670 w 636152"/>
              <a:gd name="connsiteY6" fmla="*/ 74398 h 330071"/>
              <a:gd name="connsiteX7" fmla="*/ 400743 w 636152"/>
              <a:gd name="connsiteY7" fmla="*/ 98049 h 330071"/>
              <a:gd name="connsiteX8" fmla="*/ 451718 w 636152"/>
              <a:gd name="connsiteY8" fmla="*/ 127094 h 330071"/>
              <a:gd name="connsiteX9" fmla="*/ 508885 w 636152"/>
              <a:gd name="connsiteY9" fmla="*/ 162013 h 330071"/>
              <a:gd name="connsiteX10" fmla="*/ 543510 w 636152"/>
              <a:gd name="connsiteY10" fmla="*/ 186458 h 330071"/>
              <a:gd name="connsiteX11" fmla="*/ 583852 w 636152"/>
              <a:gd name="connsiteY11" fmla="*/ 220110 h 330071"/>
              <a:gd name="connsiteX12" fmla="*/ 636152 w 636152"/>
              <a:gd name="connsiteY12" fmla="*/ 267506 h 330071"/>
              <a:gd name="connsiteX13" fmla="*/ 563886 w 636152"/>
              <a:gd name="connsiteY13" fmla="*/ 330071 h 330071"/>
              <a:gd name="connsiteX14" fmla="*/ 523546 w 636152"/>
              <a:gd name="connsiteY14" fmla="*/ 290484 h 330071"/>
              <a:gd name="connsiteX15" fmla="*/ 450710 w 636152"/>
              <a:gd name="connsiteY15" fmla="*/ 235589 h 330071"/>
              <a:gd name="connsiteX16" fmla="*/ 383046 w 636152"/>
              <a:gd name="connsiteY16" fmla="*/ 196528 h 330071"/>
              <a:gd name="connsiteX17" fmla="*/ 330658 w 636152"/>
              <a:gd name="connsiteY17" fmla="*/ 170334 h 330071"/>
              <a:gd name="connsiteX18" fmla="*/ 260175 w 636152"/>
              <a:gd name="connsiteY18" fmla="*/ 143821 h 330071"/>
              <a:gd name="connsiteX19" fmla="*/ 207026 w 636152"/>
              <a:gd name="connsiteY19" fmla="*/ 120646 h 330071"/>
              <a:gd name="connsiteX20" fmla="*/ 137798 w 636152"/>
              <a:gd name="connsiteY20" fmla="*/ 110493 h 330071"/>
              <a:gd name="connsiteX21" fmla="*/ 73325 w 636152"/>
              <a:gd name="connsiteY21" fmla="*/ 99542 h 330071"/>
              <a:gd name="connsiteX22" fmla="*/ 540 w 636152"/>
              <a:gd name="connsiteY22" fmla="*/ 97824 h 330071"/>
              <a:gd name="connsiteX23" fmla="*/ 0 w 636152"/>
              <a:gd name="connsiteY23" fmla="*/ 0 h 330071"/>
              <a:gd name="connsiteX0" fmla="*/ 0 w 630420"/>
              <a:gd name="connsiteY0" fmla="*/ 0 h 330071"/>
              <a:gd name="connsiteX1" fmla="*/ 63998 w 630420"/>
              <a:gd name="connsiteY1" fmla="*/ 2353 h 330071"/>
              <a:gd name="connsiteX2" fmla="*/ 112904 w 630420"/>
              <a:gd name="connsiteY2" fmla="*/ 6943 h 330071"/>
              <a:gd name="connsiteX3" fmla="*/ 154195 w 630420"/>
              <a:gd name="connsiteY3" fmla="*/ 16461 h 330071"/>
              <a:gd name="connsiteX4" fmla="*/ 222289 w 630420"/>
              <a:gd name="connsiteY4" fmla="*/ 31599 h 330071"/>
              <a:gd name="connsiteX5" fmla="*/ 298331 w 630420"/>
              <a:gd name="connsiteY5" fmla="*/ 52817 h 330071"/>
              <a:gd name="connsiteX6" fmla="*/ 348670 w 630420"/>
              <a:gd name="connsiteY6" fmla="*/ 74398 h 330071"/>
              <a:gd name="connsiteX7" fmla="*/ 400743 w 630420"/>
              <a:gd name="connsiteY7" fmla="*/ 98049 h 330071"/>
              <a:gd name="connsiteX8" fmla="*/ 451718 w 630420"/>
              <a:gd name="connsiteY8" fmla="*/ 127094 h 330071"/>
              <a:gd name="connsiteX9" fmla="*/ 508885 w 630420"/>
              <a:gd name="connsiteY9" fmla="*/ 162013 h 330071"/>
              <a:gd name="connsiteX10" fmla="*/ 543510 w 630420"/>
              <a:gd name="connsiteY10" fmla="*/ 186458 h 330071"/>
              <a:gd name="connsiteX11" fmla="*/ 583852 w 630420"/>
              <a:gd name="connsiteY11" fmla="*/ 220110 h 330071"/>
              <a:gd name="connsiteX12" fmla="*/ 630420 w 630420"/>
              <a:gd name="connsiteY12" fmla="*/ 263686 h 330071"/>
              <a:gd name="connsiteX13" fmla="*/ 563886 w 630420"/>
              <a:gd name="connsiteY13" fmla="*/ 330071 h 330071"/>
              <a:gd name="connsiteX14" fmla="*/ 523546 w 630420"/>
              <a:gd name="connsiteY14" fmla="*/ 290484 h 330071"/>
              <a:gd name="connsiteX15" fmla="*/ 450710 w 630420"/>
              <a:gd name="connsiteY15" fmla="*/ 235589 h 330071"/>
              <a:gd name="connsiteX16" fmla="*/ 383046 w 630420"/>
              <a:gd name="connsiteY16" fmla="*/ 196528 h 330071"/>
              <a:gd name="connsiteX17" fmla="*/ 330658 w 630420"/>
              <a:gd name="connsiteY17" fmla="*/ 170334 h 330071"/>
              <a:gd name="connsiteX18" fmla="*/ 260175 w 630420"/>
              <a:gd name="connsiteY18" fmla="*/ 143821 h 330071"/>
              <a:gd name="connsiteX19" fmla="*/ 207026 w 630420"/>
              <a:gd name="connsiteY19" fmla="*/ 120646 h 330071"/>
              <a:gd name="connsiteX20" fmla="*/ 137798 w 630420"/>
              <a:gd name="connsiteY20" fmla="*/ 110493 h 330071"/>
              <a:gd name="connsiteX21" fmla="*/ 73325 w 630420"/>
              <a:gd name="connsiteY21" fmla="*/ 99542 h 330071"/>
              <a:gd name="connsiteX22" fmla="*/ 540 w 630420"/>
              <a:gd name="connsiteY22" fmla="*/ 97824 h 330071"/>
              <a:gd name="connsiteX23" fmla="*/ 0 w 630420"/>
              <a:gd name="connsiteY23" fmla="*/ 0 h 330071"/>
              <a:gd name="connsiteX0" fmla="*/ 0 w 630420"/>
              <a:gd name="connsiteY0" fmla="*/ 0 h 316698"/>
              <a:gd name="connsiteX1" fmla="*/ 63998 w 630420"/>
              <a:gd name="connsiteY1" fmla="*/ 2353 h 316698"/>
              <a:gd name="connsiteX2" fmla="*/ 112904 w 630420"/>
              <a:gd name="connsiteY2" fmla="*/ 6943 h 316698"/>
              <a:gd name="connsiteX3" fmla="*/ 154195 w 630420"/>
              <a:gd name="connsiteY3" fmla="*/ 16461 h 316698"/>
              <a:gd name="connsiteX4" fmla="*/ 222289 w 630420"/>
              <a:gd name="connsiteY4" fmla="*/ 31599 h 316698"/>
              <a:gd name="connsiteX5" fmla="*/ 298331 w 630420"/>
              <a:gd name="connsiteY5" fmla="*/ 52817 h 316698"/>
              <a:gd name="connsiteX6" fmla="*/ 348670 w 630420"/>
              <a:gd name="connsiteY6" fmla="*/ 74398 h 316698"/>
              <a:gd name="connsiteX7" fmla="*/ 400743 w 630420"/>
              <a:gd name="connsiteY7" fmla="*/ 98049 h 316698"/>
              <a:gd name="connsiteX8" fmla="*/ 451718 w 630420"/>
              <a:gd name="connsiteY8" fmla="*/ 127094 h 316698"/>
              <a:gd name="connsiteX9" fmla="*/ 508885 w 630420"/>
              <a:gd name="connsiteY9" fmla="*/ 162013 h 316698"/>
              <a:gd name="connsiteX10" fmla="*/ 543510 w 630420"/>
              <a:gd name="connsiteY10" fmla="*/ 186458 h 316698"/>
              <a:gd name="connsiteX11" fmla="*/ 583852 w 630420"/>
              <a:gd name="connsiteY11" fmla="*/ 220110 h 316698"/>
              <a:gd name="connsiteX12" fmla="*/ 630420 w 630420"/>
              <a:gd name="connsiteY12" fmla="*/ 263686 h 316698"/>
              <a:gd name="connsiteX13" fmla="*/ 550513 w 630420"/>
              <a:gd name="connsiteY13" fmla="*/ 316698 h 316698"/>
              <a:gd name="connsiteX14" fmla="*/ 523546 w 630420"/>
              <a:gd name="connsiteY14" fmla="*/ 290484 h 316698"/>
              <a:gd name="connsiteX15" fmla="*/ 450710 w 630420"/>
              <a:gd name="connsiteY15" fmla="*/ 235589 h 316698"/>
              <a:gd name="connsiteX16" fmla="*/ 383046 w 630420"/>
              <a:gd name="connsiteY16" fmla="*/ 196528 h 316698"/>
              <a:gd name="connsiteX17" fmla="*/ 330658 w 630420"/>
              <a:gd name="connsiteY17" fmla="*/ 170334 h 316698"/>
              <a:gd name="connsiteX18" fmla="*/ 260175 w 630420"/>
              <a:gd name="connsiteY18" fmla="*/ 143821 h 316698"/>
              <a:gd name="connsiteX19" fmla="*/ 207026 w 630420"/>
              <a:gd name="connsiteY19" fmla="*/ 120646 h 316698"/>
              <a:gd name="connsiteX20" fmla="*/ 137798 w 630420"/>
              <a:gd name="connsiteY20" fmla="*/ 110493 h 316698"/>
              <a:gd name="connsiteX21" fmla="*/ 73325 w 630420"/>
              <a:gd name="connsiteY21" fmla="*/ 99542 h 316698"/>
              <a:gd name="connsiteX22" fmla="*/ 540 w 630420"/>
              <a:gd name="connsiteY22" fmla="*/ 97824 h 316698"/>
              <a:gd name="connsiteX23" fmla="*/ 0 w 630420"/>
              <a:gd name="connsiteY23" fmla="*/ 0 h 316698"/>
              <a:gd name="connsiteX0" fmla="*/ 0 w 630420"/>
              <a:gd name="connsiteY0" fmla="*/ 0 h 316698"/>
              <a:gd name="connsiteX1" fmla="*/ 63998 w 630420"/>
              <a:gd name="connsiteY1" fmla="*/ 2353 h 316698"/>
              <a:gd name="connsiteX2" fmla="*/ 112904 w 630420"/>
              <a:gd name="connsiteY2" fmla="*/ 6943 h 316698"/>
              <a:gd name="connsiteX3" fmla="*/ 154195 w 630420"/>
              <a:gd name="connsiteY3" fmla="*/ 16461 h 316698"/>
              <a:gd name="connsiteX4" fmla="*/ 222289 w 630420"/>
              <a:gd name="connsiteY4" fmla="*/ 31599 h 316698"/>
              <a:gd name="connsiteX5" fmla="*/ 298331 w 630420"/>
              <a:gd name="connsiteY5" fmla="*/ 52817 h 316698"/>
              <a:gd name="connsiteX6" fmla="*/ 348670 w 630420"/>
              <a:gd name="connsiteY6" fmla="*/ 74398 h 316698"/>
              <a:gd name="connsiteX7" fmla="*/ 400743 w 630420"/>
              <a:gd name="connsiteY7" fmla="*/ 98049 h 316698"/>
              <a:gd name="connsiteX8" fmla="*/ 451718 w 630420"/>
              <a:gd name="connsiteY8" fmla="*/ 127094 h 316698"/>
              <a:gd name="connsiteX9" fmla="*/ 508885 w 630420"/>
              <a:gd name="connsiteY9" fmla="*/ 162013 h 316698"/>
              <a:gd name="connsiteX10" fmla="*/ 543510 w 630420"/>
              <a:gd name="connsiteY10" fmla="*/ 186458 h 316698"/>
              <a:gd name="connsiteX11" fmla="*/ 583852 w 630420"/>
              <a:gd name="connsiteY11" fmla="*/ 220110 h 316698"/>
              <a:gd name="connsiteX12" fmla="*/ 630420 w 630420"/>
              <a:gd name="connsiteY12" fmla="*/ 263686 h 316698"/>
              <a:gd name="connsiteX13" fmla="*/ 550513 w 630420"/>
              <a:gd name="connsiteY13" fmla="*/ 316698 h 316698"/>
              <a:gd name="connsiteX14" fmla="*/ 506352 w 630420"/>
              <a:gd name="connsiteY14" fmla="*/ 273289 h 316698"/>
              <a:gd name="connsiteX15" fmla="*/ 450710 w 630420"/>
              <a:gd name="connsiteY15" fmla="*/ 235589 h 316698"/>
              <a:gd name="connsiteX16" fmla="*/ 383046 w 630420"/>
              <a:gd name="connsiteY16" fmla="*/ 196528 h 316698"/>
              <a:gd name="connsiteX17" fmla="*/ 330658 w 630420"/>
              <a:gd name="connsiteY17" fmla="*/ 170334 h 316698"/>
              <a:gd name="connsiteX18" fmla="*/ 260175 w 630420"/>
              <a:gd name="connsiteY18" fmla="*/ 143821 h 316698"/>
              <a:gd name="connsiteX19" fmla="*/ 207026 w 630420"/>
              <a:gd name="connsiteY19" fmla="*/ 120646 h 316698"/>
              <a:gd name="connsiteX20" fmla="*/ 137798 w 630420"/>
              <a:gd name="connsiteY20" fmla="*/ 110493 h 316698"/>
              <a:gd name="connsiteX21" fmla="*/ 73325 w 630420"/>
              <a:gd name="connsiteY21" fmla="*/ 99542 h 316698"/>
              <a:gd name="connsiteX22" fmla="*/ 540 w 630420"/>
              <a:gd name="connsiteY22" fmla="*/ 97824 h 316698"/>
              <a:gd name="connsiteX23" fmla="*/ 0 w 630420"/>
              <a:gd name="connsiteY23" fmla="*/ 0 h 316698"/>
              <a:gd name="connsiteX0" fmla="*/ 0 w 615136"/>
              <a:gd name="connsiteY0" fmla="*/ 0 h 316698"/>
              <a:gd name="connsiteX1" fmla="*/ 63998 w 615136"/>
              <a:gd name="connsiteY1" fmla="*/ 2353 h 316698"/>
              <a:gd name="connsiteX2" fmla="*/ 112904 w 615136"/>
              <a:gd name="connsiteY2" fmla="*/ 694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48402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1315"/>
              <a:gd name="connsiteY0" fmla="*/ 0 h 316698"/>
              <a:gd name="connsiteX1" fmla="*/ 63998 w 611315"/>
              <a:gd name="connsiteY1" fmla="*/ 2353 h 316698"/>
              <a:gd name="connsiteX2" fmla="*/ 112904 w 611315"/>
              <a:gd name="connsiteY2" fmla="*/ 6943 h 316698"/>
              <a:gd name="connsiteX3" fmla="*/ 154195 w 611315"/>
              <a:gd name="connsiteY3" fmla="*/ 16461 h 316698"/>
              <a:gd name="connsiteX4" fmla="*/ 222289 w 611315"/>
              <a:gd name="connsiteY4" fmla="*/ 31599 h 316698"/>
              <a:gd name="connsiteX5" fmla="*/ 298331 w 611315"/>
              <a:gd name="connsiteY5" fmla="*/ 52817 h 316698"/>
              <a:gd name="connsiteX6" fmla="*/ 348670 w 611315"/>
              <a:gd name="connsiteY6" fmla="*/ 74398 h 316698"/>
              <a:gd name="connsiteX7" fmla="*/ 400743 w 611315"/>
              <a:gd name="connsiteY7" fmla="*/ 98049 h 316698"/>
              <a:gd name="connsiteX8" fmla="*/ 451718 w 611315"/>
              <a:gd name="connsiteY8" fmla="*/ 127094 h 316698"/>
              <a:gd name="connsiteX9" fmla="*/ 508885 w 611315"/>
              <a:gd name="connsiteY9" fmla="*/ 162013 h 316698"/>
              <a:gd name="connsiteX10" fmla="*/ 543510 w 611315"/>
              <a:gd name="connsiteY10" fmla="*/ 186458 h 316698"/>
              <a:gd name="connsiteX11" fmla="*/ 583852 w 611315"/>
              <a:gd name="connsiteY11" fmla="*/ 220110 h 316698"/>
              <a:gd name="connsiteX12" fmla="*/ 611315 w 611315"/>
              <a:gd name="connsiteY12" fmla="*/ 244582 h 316698"/>
              <a:gd name="connsiteX13" fmla="*/ 550513 w 611315"/>
              <a:gd name="connsiteY13" fmla="*/ 316698 h 316698"/>
              <a:gd name="connsiteX14" fmla="*/ 506352 w 611315"/>
              <a:gd name="connsiteY14" fmla="*/ 273289 h 316698"/>
              <a:gd name="connsiteX15" fmla="*/ 450710 w 611315"/>
              <a:gd name="connsiteY15" fmla="*/ 235589 h 316698"/>
              <a:gd name="connsiteX16" fmla="*/ 383046 w 611315"/>
              <a:gd name="connsiteY16" fmla="*/ 196528 h 316698"/>
              <a:gd name="connsiteX17" fmla="*/ 330658 w 611315"/>
              <a:gd name="connsiteY17" fmla="*/ 170334 h 316698"/>
              <a:gd name="connsiteX18" fmla="*/ 260175 w 611315"/>
              <a:gd name="connsiteY18" fmla="*/ 143821 h 316698"/>
              <a:gd name="connsiteX19" fmla="*/ 207026 w 611315"/>
              <a:gd name="connsiteY19" fmla="*/ 120646 h 316698"/>
              <a:gd name="connsiteX20" fmla="*/ 137798 w 611315"/>
              <a:gd name="connsiteY20" fmla="*/ 110493 h 316698"/>
              <a:gd name="connsiteX21" fmla="*/ 73325 w 611315"/>
              <a:gd name="connsiteY21" fmla="*/ 99542 h 316698"/>
              <a:gd name="connsiteX22" fmla="*/ 540 w 611315"/>
              <a:gd name="connsiteY22" fmla="*/ 97824 h 316698"/>
              <a:gd name="connsiteX23" fmla="*/ 0 w 611315"/>
              <a:gd name="connsiteY23" fmla="*/ 0 h 316698"/>
              <a:gd name="connsiteX0" fmla="*/ 0 w 615136"/>
              <a:gd name="connsiteY0" fmla="*/ 0 h 316698"/>
              <a:gd name="connsiteX1" fmla="*/ 63998 w 615136"/>
              <a:gd name="connsiteY1" fmla="*/ 2353 h 316698"/>
              <a:gd name="connsiteX2" fmla="*/ 112904 w 615136"/>
              <a:gd name="connsiteY2" fmla="*/ 694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50313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5136"/>
              <a:gd name="connsiteY0" fmla="*/ 0 h 316698"/>
              <a:gd name="connsiteX1" fmla="*/ 63998 w 615136"/>
              <a:gd name="connsiteY1" fmla="*/ 2353 h 316698"/>
              <a:gd name="connsiteX2" fmla="*/ 110993 w 615136"/>
              <a:gd name="connsiteY2" fmla="*/ 885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50313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5136"/>
              <a:gd name="connsiteY0" fmla="*/ 0 h 316698"/>
              <a:gd name="connsiteX1" fmla="*/ 58266 w 615136"/>
              <a:gd name="connsiteY1" fmla="*/ 4263 h 316698"/>
              <a:gd name="connsiteX2" fmla="*/ 110993 w 615136"/>
              <a:gd name="connsiteY2" fmla="*/ 885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50313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5136"/>
              <a:gd name="connsiteY0" fmla="*/ 1469 h 312435"/>
              <a:gd name="connsiteX1" fmla="*/ 58266 w 615136"/>
              <a:gd name="connsiteY1" fmla="*/ 0 h 312435"/>
              <a:gd name="connsiteX2" fmla="*/ 110993 w 615136"/>
              <a:gd name="connsiteY2" fmla="*/ 4590 h 312435"/>
              <a:gd name="connsiteX3" fmla="*/ 154195 w 615136"/>
              <a:gd name="connsiteY3" fmla="*/ 12198 h 312435"/>
              <a:gd name="connsiteX4" fmla="*/ 222289 w 615136"/>
              <a:gd name="connsiteY4" fmla="*/ 27336 h 312435"/>
              <a:gd name="connsiteX5" fmla="*/ 298331 w 615136"/>
              <a:gd name="connsiteY5" fmla="*/ 48554 h 312435"/>
              <a:gd name="connsiteX6" fmla="*/ 348670 w 615136"/>
              <a:gd name="connsiteY6" fmla="*/ 70135 h 312435"/>
              <a:gd name="connsiteX7" fmla="*/ 400743 w 615136"/>
              <a:gd name="connsiteY7" fmla="*/ 93786 h 312435"/>
              <a:gd name="connsiteX8" fmla="*/ 451718 w 615136"/>
              <a:gd name="connsiteY8" fmla="*/ 122831 h 312435"/>
              <a:gd name="connsiteX9" fmla="*/ 508885 w 615136"/>
              <a:gd name="connsiteY9" fmla="*/ 157750 h 312435"/>
              <a:gd name="connsiteX10" fmla="*/ 543510 w 615136"/>
              <a:gd name="connsiteY10" fmla="*/ 182195 h 312435"/>
              <a:gd name="connsiteX11" fmla="*/ 583852 w 615136"/>
              <a:gd name="connsiteY11" fmla="*/ 215847 h 312435"/>
              <a:gd name="connsiteX12" fmla="*/ 615136 w 615136"/>
              <a:gd name="connsiteY12" fmla="*/ 246050 h 312435"/>
              <a:gd name="connsiteX13" fmla="*/ 550513 w 615136"/>
              <a:gd name="connsiteY13" fmla="*/ 312435 h 312435"/>
              <a:gd name="connsiteX14" fmla="*/ 506352 w 615136"/>
              <a:gd name="connsiteY14" fmla="*/ 269026 h 312435"/>
              <a:gd name="connsiteX15" fmla="*/ 450710 w 615136"/>
              <a:gd name="connsiteY15" fmla="*/ 231326 h 312435"/>
              <a:gd name="connsiteX16" fmla="*/ 383046 w 615136"/>
              <a:gd name="connsiteY16" fmla="*/ 192265 h 312435"/>
              <a:gd name="connsiteX17" fmla="*/ 330658 w 615136"/>
              <a:gd name="connsiteY17" fmla="*/ 166071 h 312435"/>
              <a:gd name="connsiteX18" fmla="*/ 260175 w 615136"/>
              <a:gd name="connsiteY18" fmla="*/ 139558 h 312435"/>
              <a:gd name="connsiteX19" fmla="*/ 207026 w 615136"/>
              <a:gd name="connsiteY19" fmla="*/ 116383 h 312435"/>
              <a:gd name="connsiteX20" fmla="*/ 137798 w 615136"/>
              <a:gd name="connsiteY20" fmla="*/ 106230 h 312435"/>
              <a:gd name="connsiteX21" fmla="*/ 73325 w 615136"/>
              <a:gd name="connsiteY21" fmla="*/ 95279 h 312435"/>
              <a:gd name="connsiteX22" fmla="*/ 540 w 615136"/>
              <a:gd name="connsiteY22" fmla="*/ 93561 h 312435"/>
              <a:gd name="connsiteX23" fmla="*/ 0 w 615136"/>
              <a:gd name="connsiteY23" fmla="*/ 1469 h 312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15136" h="312435">
                <a:moveTo>
                  <a:pt x="0" y="1469"/>
                </a:moveTo>
                <a:lnTo>
                  <a:pt x="58266" y="0"/>
                </a:lnTo>
                <a:lnTo>
                  <a:pt x="110993" y="4590"/>
                </a:lnTo>
                <a:lnTo>
                  <a:pt x="154195" y="12198"/>
                </a:lnTo>
                <a:lnTo>
                  <a:pt x="222289" y="27336"/>
                </a:lnTo>
                <a:lnTo>
                  <a:pt x="298331" y="48554"/>
                </a:lnTo>
                <a:lnTo>
                  <a:pt x="348670" y="70135"/>
                </a:lnTo>
                <a:lnTo>
                  <a:pt x="400743" y="93786"/>
                </a:lnTo>
                <a:lnTo>
                  <a:pt x="451718" y="122831"/>
                </a:lnTo>
                <a:lnTo>
                  <a:pt x="508885" y="157750"/>
                </a:lnTo>
                <a:lnTo>
                  <a:pt x="543510" y="182195"/>
                </a:lnTo>
                <a:lnTo>
                  <a:pt x="583852" y="215847"/>
                </a:lnTo>
                <a:lnTo>
                  <a:pt x="615136" y="246050"/>
                </a:lnTo>
                <a:lnTo>
                  <a:pt x="550513" y="312435"/>
                </a:lnTo>
                <a:lnTo>
                  <a:pt x="506352" y="269026"/>
                </a:lnTo>
                <a:lnTo>
                  <a:pt x="450710" y="231326"/>
                </a:lnTo>
                <a:cubicBezTo>
                  <a:pt x="429279" y="216642"/>
                  <a:pt x="403055" y="203141"/>
                  <a:pt x="383046" y="192265"/>
                </a:cubicBezTo>
                <a:cubicBezTo>
                  <a:pt x="363037" y="181389"/>
                  <a:pt x="350899" y="174008"/>
                  <a:pt x="330658" y="166071"/>
                </a:cubicBezTo>
                <a:cubicBezTo>
                  <a:pt x="307639" y="158927"/>
                  <a:pt x="283194" y="146702"/>
                  <a:pt x="260175" y="139558"/>
                </a:cubicBezTo>
                <a:lnTo>
                  <a:pt x="207026" y="116383"/>
                </a:lnTo>
                <a:lnTo>
                  <a:pt x="137798" y="106230"/>
                </a:lnTo>
                <a:lnTo>
                  <a:pt x="73325" y="95279"/>
                </a:lnTo>
                <a:lnTo>
                  <a:pt x="540" y="93561"/>
                </a:lnTo>
                <a:cubicBezTo>
                  <a:pt x="-1047" y="-38769"/>
                  <a:pt x="1587" y="133799"/>
                  <a:pt x="0" y="1469"/>
                </a:cubicBezTo>
                <a:close/>
              </a:path>
            </a:pathLst>
          </a:cu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2" name="Прямоугольник 21"/>
          <p:cNvSpPr/>
          <p:nvPr/>
        </p:nvSpPr>
        <p:spPr>
          <a:xfrm rot="5400000">
            <a:off x="2096657" y="3981653"/>
            <a:ext cx="766727" cy="389429"/>
          </a:xfrm>
          <a:custGeom>
            <a:avLst/>
            <a:gdLst>
              <a:gd name="connsiteX0" fmla="*/ 0 w 865598"/>
              <a:gd name="connsiteY0" fmla="*/ 0 h 627970"/>
              <a:gd name="connsiteX1" fmla="*/ 865598 w 865598"/>
              <a:gd name="connsiteY1" fmla="*/ 0 h 627970"/>
              <a:gd name="connsiteX2" fmla="*/ 865598 w 865598"/>
              <a:gd name="connsiteY2" fmla="*/ 627970 h 627970"/>
              <a:gd name="connsiteX3" fmla="*/ 0 w 865598"/>
              <a:gd name="connsiteY3" fmla="*/ 627970 h 627970"/>
              <a:gd name="connsiteX4" fmla="*/ 0 w 865598"/>
              <a:gd name="connsiteY4" fmla="*/ 0 h 627970"/>
              <a:gd name="connsiteX0" fmla="*/ 0 w 865598"/>
              <a:gd name="connsiteY0" fmla="*/ 0 h 627970"/>
              <a:gd name="connsiteX1" fmla="*/ 865598 w 865598"/>
              <a:gd name="connsiteY1" fmla="*/ 0 h 627970"/>
              <a:gd name="connsiteX2" fmla="*/ 865598 w 865598"/>
              <a:gd name="connsiteY2" fmla="*/ 627970 h 627970"/>
              <a:gd name="connsiteX3" fmla="*/ 4762 w 865598"/>
              <a:gd name="connsiteY3" fmla="*/ 396989 h 627970"/>
              <a:gd name="connsiteX4" fmla="*/ 0 w 865598"/>
              <a:gd name="connsiteY4" fmla="*/ 0 h 627970"/>
              <a:gd name="connsiteX0" fmla="*/ 0 w 865598"/>
              <a:gd name="connsiteY0" fmla="*/ 0 h 632732"/>
              <a:gd name="connsiteX1" fmla="*/ 865598 w 865598"/>
              <a:gd name="connsiteY1" fmla="*/ 0 h 632732"/>
              <a:gd name="connsiteX2" fmla="*/ 582229 w 865598"/>
              <a:gd name="connsiteY2" fmla="*/ 632732 h 632732"/>
              <a:gd name="connsiteX3" fmla="*/ 4762 w 865598"/>
              <a:gd name="connsiteY3" fmla="*/ 396989 h 632732"/>
              <a:gd name="connsiteX4" fmla="*/ 0 w 865598"/>
              <a:gd name="connsiteY4" fmla="*/ 0 h 632732"/>
              <a:gd name="connsiteX0" fmla="*/ 0 w 870361"/>
              <a:gd name="connsiteY0" fmla="*/ 0 h 632732"/>
              <a:gd name="connsiteX1" fmla="*/ 870361 w 870361"/>
              <a:gd name="connsiteY1" fmla="*/ 359569 h 632732"/>
              <a:gd name="connsiteX2" fmla="*/ 582229 w 870361"/>
              <a:gd name="connsiteY2" fmla="*/ 632732 h 632732"/>
              <a:gd name="connsiteX3" fmla="*/ 4762 w 870361"/>
              <a:gd name="connsiteY3" fmla="*/ 396989 h 632732"/>
              <a:gd name="connsiteX4" fmla="*/ 0 w 870361"/>
              <a:gd name="connsiteY4" fmla="*/ 0 h 632732"/>
              <a:gd name="connsiteX0" fmla="*/ 0 w 863217"/>
              <a:gd name="connsiteY0" fmla="*/ 0 h 632732"/>
              <a:gd name="connsiteX1" fmla="*/ 863217 w 863217"/>
              <a:gd name="connsiteY1" fmla="*/ 350044 h 632732"/>
              <a:gd name="connsiteX2" fmla="*/ 582229 w 863217"/>
              <a:gd name="connsiteY2" fmla="*/ 632732 h 632732"/>
              <a:gd name="connsiteX3" fmla="*/ 4762 w 863217"/>
              <a:gd name="connsiteY3" fmla="*/ 396989 h 632732"/>
              <a:gd name="connsiteX4" fmla="*/ 0 w 863217"/>
              <a:gd name="connsiteY4" fmla="*/ 0 h 632732"/>
              <a:gd name="connsiteX0" fmla="*/ 0 w 867979"/>
              <a:gd name="connsiteY0" fmla="*/ 0 h 632732"/>
              <a:gd name="connsiteX1" fmla="*/ 867979 w 867979"/>
              <a:gd name="connsiteY1" fmla="*/ 361951 h 632732"/>
              <a:gd name="connsiteX2" fmla="*/ 582229 w 867979"/>
              <a:gd name="connsiteY2" fmla="*/ 632732 h 632732"/>
              <a:gd name="connsiteX3" fmla="*/ 4762 w 867979"/>
              <a:gd name="connsiteY3" fmla="*/ 396989 h 632732"/>
              <a:gd name="connsiteX4" fmla="*/ 0 w 867979"/>
              <a:gd name="connsiteY4" fmla="*/ 0 h 632732"/>
              <a:gd name="connsiteX0" fmla="*/ 0 w 867979"/>
              <a:gd name="connsiteY0" fmla="*/ 0 h 642257"/>
              <a:gd name="connsiteX1" fmla="*/ 867979 w 867979"/>
              <a:gd name="connsiteY1" fmla="*/ 361951 h 642257"/>
              <a:gd name="connsiteX2" fmla="*/ 594135 w 867979"/>
              <a:gd name="connsiteY2" fmla="*/ 642257 h 642257"/>
              <a:gd name="connsiteX3" fmla="*/ 4762 w 867979"/>
              <a:gd name="connsiteY3" fmla="*/ 396989 h 642257"/>
              <a:gd name="connsiteX4" fmla="*/ 0 w 867979"/>
              <a:gd name="connsiteY4" fmla="*/ 0 h 642257"/>
              <a:gd name="connsiteX0" fmla="*/ 0 w 867979"/>
              <a:gd name="connsiteY0" fmla="*/ 0 h 637494"/>
              <a:gd name="connsiteX1" fmla="*/ 867979 w 867979"/>
              <a:gd name="connsiteY1" fmla="*/ 361951 h 637494"/>
              <a:gd name="connsiteX2" fmla="*/ 591754 w 867979"/>
              <a:gd name="connsiteY2" fmla="*/ 637494 h 637494"/>
              <a:gd name="connsiteX3" fmla="*/ 4762 w 867979"/>
              <a:gd name="connsiteY3" fmla="*/ 396989 h 637494"/>
              <a:gd name="connsiteX4" fmla="*/ 0 w 867979"/>
              <a:gd name="connsiteY4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458 w 868438"/>
              <a:gd name="connsiteY3" fmla="*/ 392227 h 637494"/>
              <a:gd name="connsiteX4" fmla="*/ 459 w 868438"/>
              <a:gd name="connsiteY4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193875 w 868438"/>
              <a:gd name="connsiteY3" fmla="*/ 472048 h 637494"/>
              <a:gd name="connsiteX4" fmla="*/ 458 w 868438"/>
              <a:gd name="connsiteY4" fmla="*/ 392227 h 637494"/>
              <a:gd name="connsiteX5" fmla="*/ 459 w 868438"/>
              <a:gd name="connsiteY5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74813 w 868438"/>
              <a:gd name="connsiteY3" fmla="*/ 398230 h 637494"/>
              <a:gd name="connsiteX4" fmla="*/ 458 w 868438"/>
              <a:gd name="connsiteY4" fmla="*/ 392227 h 637494"/>
              <a:gd name="connsiteX5" fmla="*/ 459 w 868438"/>
              <a:gd name="connsiteY5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293888 w 868438"/>
              <a:gd name="connsiteY3" fmla="*/ 495860 h 637494"/>
              <a:gd name="connsiteX4" fmla="*/ 74813 w 868438"/>
              <a:gd name="connsiteY4" fmla="*/ 398230 h 637494"/>
              <a:gd name="connsiteX5" fmla="*/ 458 w 868438"/>
              <a:gd name="connsiteY5" fmla="*/ 392227 h 637494"/>
              <a:gd name="connsiteX6" fmla="*/ 459 w 868438"/>
              <a:gd name="connsiteY6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131963 w 868438"/>
              <a:gd name="connsiteY3" fmla="*/ 405373 h 637494"/>
              <a:gd name="connsiteX4" fmla="*/ 74813 w 868438"/>
              <a:gd name="connsiteY4" fmla="*/ 398230 h 637494"/>
              <a:gd name="connsiteX5" fmla="*/ 458 w 868438"/>
              <a:gd name="connsiteY5" fmla="*/ 392227 h 637494"/>
              <a:gd name="connsiteX6" fmla="*/ 459 w 868438"/>
              <a:gd name="connsiteY6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343894 w 868438"/>
              <a:gd name="connsiteY3" fmla="*/ 517291 h 637494"/>
              <a:gd name="connsiteX4" fmla="*/ 131963 w 868438"/>
              <a:gd name="connsiteY4" fmla="*/ 405373 h 637494"/>
              <a:gd name="connsiteX5" fmla="*/ 74813 w 868438"/>
              <a:gd name="connsiteY5" fmla="*/ 398230 h 637494"/>
              <a:gd name="connsiteX6" fmla="*/ 458 w 868438"/>
              <a:gd name="connsiteY6" fmla="*/ 392227 h 637494"/>
              <a:gd name="connsiteX7" fmla="*/ 459 w 868438"/>
              <a:gd name="connsiteY7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201019 w 868438"/>
              <a:gd name="connsiteY3" fmla="*/ 419659 h 637494"/>
              <a:gd name="connsiteX4" fmla="*/ 131963 w 868438"/>
              <a:gd name="connsiteY4" fmla="*/ 405373 h 637494"/>
              <a:gd name="connsiteX5" fmla="*/ 74813 w 868438"/>
              <a:gd name="connsiteY5" fmla="*/ 398230 h 637494"/>
              <a:gd name="connsiteX6" fmla="*/ 458 w 868438"/>
              <a:gd name="connsiteY6" fmla="*/ 392227 h 637494"/>
              <a:gd name="connsiteX7" fmla="*/ 459 w 868438"/>
              <a:gd name="connsiteY7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334369 w 868438"/>
              <a:gd name="connsiteY3" fmla="*/ 467285 h 637494"/>
              <a:gd name="connsiteX4" fmla="*/ 201019 w 868438"/>
              <a:gd name="connsiteY4" fmla="*/ 419659 h 637494"/>
              <a:gd name="connsiteX5" fmla="*/ 131963 w 868438"/>
              <a:gd name="connsiteY5" fmla="*/ 405373 h 637494"/>
              <a:gd name="connsiteX6" fmla="*/ 74813 w 868438"/>
              <a:gd name="connsiteY6" fmla="*/ 398230 h 637494"/>
              <a:gd name="connsiteX7" fmla="*/ 458 w 868438"/>
              <a:gd name="connsiteY7" fmla="*/ 392227 h 637494"/>
              <a:gd name="connsiteX8" fmla="*/ 459 w 868438"/>
              <a:gd name="connsiteY8" fmla="*/ 0 h 637494"/>
              <a:gd name="connsiteX0" fmla="*/ 459 w 868438"/>
              <a:gd name="connsiteY0" fmla="*/ 0 h 642205"/>
              <a:gd name="connsiteX1" fmla="*/ 868438 w 868438"/>
              <a:gd name="connsiteY1" fmla="*/ 361951 h 642205"/>
              <a:gd name="connsiteX2" fmla="*/ 592213 w 868438"/>
              <a:gd name="connsiteY2" fmla="*/ 637494 h 642205"/>
              <a:gd name="connsiteX3" fmla="*/ 451050 w 868438"/>
              <a:gd name="connsiteY3" fmla="*/ 524435 h 642205"/>
              <a:gd name="connsiteX4" fmla="*/ 334369 w 868438"/>
              <a:gd name="connsiteY4" fmla="*/ 467285 h 642205"/>
              <a:gd name="connsiteX5" fmla="*/ 201019 w 868438"/>
              <a:gd name="connsiteY5" fmla="*/ 419659 h 642205"/>
              <a:gd name="connsiteX6" fmla="*/ 131963 w 868438"/>
              <a:gd name="connsiteY6" fmla="*/ 405373 h 642205"/>
              <a:gd name="connsiteX7" fmla="*/ 74813 w 868438"/>
              <a:gd name="connsiteY7" fmla="*/ 398230 h 642205"/>
              <a:gd name="connsiteX8" fmla="*/ 458 w 868438"/>
              <a:gd name="connsiteY8" fmla="*/ 392227 h 642205"/>
              <a:gd name="connsiteX9" fmla="*/ 459 w 868438"/>
              <a:gd name="connsiteY9" fmla="*/ 0 h 642205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451050 w 868438"/>
              <a:gd name="connsiteY3" fmla="*/ 524435 h 637494"/>
              <a:gd name="connsiteX4" fmla="*/ 334369 w 868438"/>
              <a:gd name="connsiteY4" fmla="*/ 467285 h 637494"/>
              <a:gd name="connsiteX5" fmla="*/ 201019 w 868438"/>
              <a:gd name="connsiteY5" fmla="*/ 419659 h 637494"/>
              <a:gd name="connsiteX6" fmla="*/ 131963 w 868438"/>
              <a:gd name="connsiteY6" fmla="*/ 405373 h 637494"/>
              <a:gd name="connsiteX7" fmla="*/ 74813 w 868438"/>
              <a:gd name="connsiteY7" fmla="*/ 398230 h 637494"/>
              <a:gd name="connsiteX8" fmla="*/ 458 w 868438"/>
              <a:gd name="connsiteY8" fmla="*/ 392227 h 637494"/>
              <a:gd name="connsiteX9" fmla="*/ 459 w 868438"/>
              <a:gd name="connsiteY9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51050 w 868438"/>
              <a:gd name="connsiteY4" fmla="*/ 524435 h 637494"/>
              <a:gd name="connsiteX5" fmla="*/ 334369 w 868438"/>
              <a:gd name="connsiteY5" fmla="*/ 467285 h 637494"/>
              <a:gd name="connsiteX6" fmla="*/ 201019 w 868438"/>
              <a:gd name="connsiteY6" fmla="*/ 419659 h 637494"/>
              <a:gd name="connsiteX7" fmla="*/ 131963 w 868438"/>
              <a:gd name="connsiteY7" fmla="*/ 405373 h 637494"/>
              <a:gd name="connsiteX8" fmla="*/ 74813 w 868438"/>
              <a:gd name="connsiteY8" fmla="*/ 398230 h 637494"/>
              <a:gd name="connsiteX9" fmla="*/ 458 w 868438"/>
              <a:gd name="connsiteY9" fmla="*/ 392227 h 637494"/>
              <a:gd name="connsiteX10" fmla="*/ 459 w 868438"/>
              <a:gd name="connsiteY10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51050 w 868438"/>
              <a:gd name="connsiteY4" fmla="*/ 524435 h 637494"/>
              <a:gd name="connsiteX5" fmla="*/ 386757 w 868438"/>
              <a:gd name="connsiteY5" fmla="*/ 493479 h 637494"/>
              <a:gd name="connsiteX6" fmla="*/ 334369 w 868438"/>
              <a:gd name="connsiteY6" fmla="*/ 467285 h 637494"/>
              <a:gd name="connsiteX7" fmla="*/ 201019 w 868438"/>
              <a:gd name="connsiteY7" fmla="*/ 419659 h 637494"/>
              <a:gd name="connsiteX8" fmla="*/ 131963 w 868438"/>
              <a:gd name="connsiteY8" fmla="*/ 405373 h 637494"/>
              <a:gd name="connsiteX9" fmla="*/ 74813 w 868438"/>
              <a:gd name="connsiteY9" fmla="*/ 398230 h 637494"/>
              <a:gd name="connsiteX10" fmla="*/ 458 w 868438"/>
              <a:gd name="connsiteY10" fmla="*/ 392227 h 637494"/>
              <a:gd name="connsiteX11" fmla="*/ 459 w 868438"/>
              <a:gd name="connsiteY11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51050 w 868438"/>
              <a:gd name="connsiteY4" fmla="*/ 524435 h 637494"/>
              <a:gd name="connsiteX5" fmla="*/ 386757 w 868438"/>
              <a:gd name="connsiteY5" fmla="*/ 493479 h 637494"/>
              <a:gd name="connsiteX6" fmla="*/ 334369 w 868438"/>
              <a:gd name="connsiteY6" fmla="*/ 467285 h 637494"/>
              <a:gd name="connsiteX7" fmla="*/ 267694 w 868438"/>
              <a:gd name="connsiteY7" fmla="*/ 441091 h 637494"/>
              <a:gd name="connsiteX8" fmla="*/ 201019 w 868438"/>
              <a:gd name="connsiteY8" fmla="*/ 419659 h 637494"/>
              <a:gd name="connsiteX9" fmla="*/ 131963 w 868438"/>
              <a:gd name="connsiteY9" fmla="*/ 405373 h 637494"/>
              <a:gd name="connsiteX10" fmla="*/ 74813 w 868438"/>
              <a:gd name="connsiteY10" fmla="*/ 398230 h 637494"/>
              <a:gd name="connsiteX11" fmla="*/ 458 w 868438"/>
              <a:gd name="connsiteY11" fmla="*/ 392227 h 637494"/>
              <a:gd name="connsiteX12" fmla="*/ 459 w 868438"/>
              <a:gd name="connsiteY12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48669 w 868438"/>
              <a:gd name="connsiteY4" fmla="*/ 529197 h 637494"/>
              <a:gd name="connsiteX5" fmla="*/ 386757 w 868438"/>
              <a:gd name="connsiteY5" fmla="*/ 493479 h 637494"/>
              <a:gd name="connsiteX6" fmla="*/ 334369 w 868438"/>
              <a:gd name="connsiteY6" fmla="*/ 467285 h 637494"/>
              <a:gd name="connsiteX7" fmla="*/ 267694 w 868438"/>
              <a:gd name="connsiteY7" fmla="*/ 441091 h 637494"/>
              <a:gd name="connsiteX8" fmla="*/ 201019 w 868438"/>
              <a:gd name="connsiteY8" fmla="*/ 419659 h 637494"/>
              <a:gd name="connsiteX9" fmla="*/ 131963 w 868438"/>
              <a:gd name="connsiteY9" fmla="*/ 405373 h 637494"/>
              <a:gd name="connsiteX10" fmla="*/ 74813 w 868438"/>
              <a:gd name="connsiteY10" fmla="*/ 398230 h 637494"/>
              <a:gd name="connsiteX11" fmla="*/ 458 w 868438"/>
              <a:gd name="connsiteY11" fmla="*/ 392227 h 637494"/>
              <a:gd name="connsiteX12" fmla="*/ 459 w 868438"/>
              <a:gd name="connsiteY1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868438 w 868438"/>
              <a:gd name="connsiteY2" fmla="*/ 361951 h 637494"/>
              <a:gd name="connsiteX3" fmla="*/ 592213 w 868438"/>
              <a:gd name="connsiteY3" fmla="*/ 637494 h 637494"/>
              <a:gd name="connsiteX4" fmla="*/ 522488 w 868438"/>
              <a:gd name="connsiteY4" fmla="*/ 581585 h 637494"/>
              <a:gd name="connsiteX5" fmla="*/ 448669 w 868438"/>
              <a:gd name="connsiteY5" fmla="*/ 529197 h 637494"/>
              <a:gd name="connsiteX6" fmla="*/ 386757 w 868438"/>
              <a:gd name="connsiteY6" fmla="*/ 493479 h 637494"/>
              <a:gd name="connsiteX7" fmla="*/ 334369 w 868438"/>
              <a:gd name="connsiteY7" fmla="*/ 467285 h 637494"/>
              <a:gd name="connsiteX8" fmla="*/ 267694 w 868438"/>
              <a:gd name="connsiteY8" fmla="*/ 441091 h 637494"/>
              <a:gd name="connsiteX9" fmla="*/ 201019 w 868438"/>
              <a:gd name="connsiteY9" fmla="*/ 419659 h 637494"/>
              <a:gd name="connsiteX10" fmla="*/ 131963 w 868438"/>
              <a:gd name="connsiteY10" fmla="*/ 405373 h 637494"/>
              <a:gd name="connsiteX11" fmla="*/ 74813 w 868438"/>
              <a:gd name="connsiteY11" fmla="*/ 398230 h 637494"/>
              <a:gd name="connsiteX12" fmla="*/ 458 w 868438"/>
              <a:gd name="connsiteY12" fmla="*/ 392227 h 637494"/>
              <a:gd name="connsiteX13" fmla="*/ 459 w 868438"/>
              <a:gd name="connsiteY13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868438 w 868438"/>
              <a:gd name="connsiteY3" fmla="*/ 361951 h 637494"/>
              <a:gd name="connsiteX4" fmla="*/ 592213 w 868438"/>
              <a:gd name="connsiteY4" fmla="*/ 637494 h 637494"/>
              <a:gd name="connsiteX5" fmla="*/ 522488 w 868438"/>
              <a:gd name="connsiteY5" fmla="*/ 581585 h 637494"/>
              <a:gd name="connsiteX6" fmla="*/ 448669 w 868438"/>
              <a:gd name="connsiteY6" fmla="*/ 529197 h 637494"/>
              <a:gd name="connsiteX7" fmla="*/ 386757 w 868438"/>
              <a:gd name="connsiteY7" fmla="*/ 493479 h 637494"/>
              <a:gd name="connsiteX8" fmla="*/ 334369 w 868438"/>
              <a:gd name="connsiteY8" fmla="*/ 467285 h 637494"/>
              <a:gd name="connsiteX9" fmla="*/ 267694 w 868438"/>
              <a:gd name="connsiteY9" fmla="*/ 441091 h 637494"/>
              <a:gd name="connsiteX10" fmla="*/ 201019 w 868438"/>
              <a:gd name="connsiteY10" fmla="*/ 419659 h 637494"/>
              <a:gd name="connsiteX11" fmla="*/ 131963 w 868438"/>
              <a:gd name="connsiteY11" fmla="*/ 405373 h 637494"/>
              <a:gd name="connsiteX12" fmla="*/ 74813 w 868438"/>
              <a:gd name="connsiteY12" fmla="*/ 398230 h 637494"/>
              <a:gd name="connsiteX13" fmla="*/ 458 w 868438"/>
              <a:gd name="connsiteY13" fmla="*/ 392227 h 637494"/>
              <a:gd name="connsiteX14" fmla="*/ 459 w 868438"/>
              <a:gd name="connsiteY14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868438 w 868438"/>
              <a:gd name="connsiteY5" fmla="*/ 361951 h 637494"/>
              <a:gd name="connsiteX6" fmla="*/ 592213 w 868438"/>
              <a:gd name="connsiteY6" fmla="*/ 637494 h 637494"/>
              <a:gd name="connsiteX7" fmla="*/ 522488 w 868438"/>
              <a:gd name="connsiteY7" fmla="*/ 581585 h 637494"/>
              <a:gd name="connsiteX8" fmla="*/ 448669 w 868438"/>
              <a:gd name="connsiteY8" fmla="*/ 529197 h 637494"/>
              <a:gd name="connsiteX9" fmla="*/ 386757 w 868438"/>
              <a:gd name="connsiteY9" fmla="*/ 493479 h 637494"/>
              <a:gd name="connsiteX10" fmla="*/ 334369 w 868438"/>
              <a:gd name="connsiteY10" fmla="*/ 467285 h 637494"/>
              <a:gd name="connsiteX11" fmla="*/ 267694 w 868438"/>
              <a:gd name="connsiteY11" fmla="*/ 441091 h 637494"/>
              <a:gd name="connsiteX12" fmla="*/ 201019 w 868438"/>
              <a:gd name="connsiteY12" fmla="*/ 419659 h 637494"/>
              <a:gd name="connsiteX13" fmla="*/ 131963 w 868438"/>
              <a:gd name="connsiteY13" fmla="*/ 405373 h 637494"/>
              <a:gd name="connsiteX14" fmla="*/ 74813 w 868438"/>
              <a:gd name="connsiteY14" fmla="*/ 398230 h 637494"/>
              <a:gd name="connsiteX15" fmla="*/ 458 w 868438"/>
              <a:gd name="connsiteY15" fmla="*/ 392227 h 637494"/>
              <a:gd name="connsiteX16" fmla="*/ 459 w 868438"/>
              <a:gd name="connsiteY16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868438 w 868438"/>
              <a:gd name="connsiteY6" fmla="*/ 361951 h 637494"/>
              <a:gd name="connsiteX7" fmla="*/ 592213 w 868438"/>
              <a:gd name="connsiteY7" fmla="*/ 637494 h 637494"/>
              <a:gd name="connsiteX8" fmla="*/ 522488 w 868438"/>
              <a:gd name="connsiteY8" fmla="*/ 581585 h 637494"/>
              <a:gd name="connsiteX9" fmla="*/ 448669 w 868438"/>
              <a:gd name="connsiteY9" fmla="*/ 529197 h 637494"/>
              <a:gd name="connsiteX10" fmla="*/ 386757 w 868438"/>
              <a:gd name="connsiteY10" fmla="*/ 493479 h 637494"/>
              <a:gd name="connsiteX11" fmla="*/ 334369 w 868438"/>
              <a:gd name="connsiteY11" fmla="*/ 467285 h 637494"/>
              <a:gd name="connsiteX12" fmla="*/ 267694 w 868438"/>
              <a:gd name="connsiteY12" fmla="*/ 441091 h 637494"/>
              <a:gd name="connsiteX13" fmla="*/ 201019 w 868438"/>
              <a:gd name="connsiteY13" fmla="*/ 419659 h 637494"/>
              <a:gd name="connsiteX14" fmla="*/ 131963 w 868438"/>
              <a:gd name="connsiteY14" fmla="*/ 405373 h 637494"/>
              <a:gd name="connsiteX15" fmla="*/ 74813 w 868438"/>
              <a:gd name="connsiteY15" fmla="*/ 398230 h 637494"/>
              <a:gd name="connsiteX16" fmla="*/ 458 w 868438"/>
              <a:gd name="connsiteY16" fmla="*/ 392227 h 637494"/>
              <a:gd name="connsiteX17" fmla="*/ 459 w 868438"/>
              <a:gd name="connsiteY17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868438 w 868438"/>
              <a:gd name="connsiteY7" fmla="*/ 361951 h 637494"/>
              <a:gd name="connsiteX8" fmla="*/ 592213 w 868438"/>
              <a:gd name="connsiteY8" fmla="*/ 637494 h 637494"/>
              <a:gd name="connsiteX9" fmla="*/ 522488 w 868438"/>
              <a:gd name="connsiteY9" fmla="*/ 581585 h 637494"/>
              <a:gd name="connsiteX10" fmla="*/ 448669 w 868438"/>
              <a:gd name="connsiteY10" fmla="*/ 529197 h 637494"/>
              <a:gd name="connsiteX11" fmla="*/ 386757 w 868438"/>
              <a:gd name="connsiteY11" fmla="*/ 493479 h 637494"/>
              <a:gd name="connsiteX12" fmla="*/ 334369 w 868438"/>
              <a:gd name="connsiteY12" fmla="*/ 467285 h 637494"/>
              <a:gd name="connsiteX13" fmla="*/ 267694 w 868438"/>
              <a:gd name="connsiteY13" fmla="*/ 441091 h 637494"/>
              <a:gd name="connsiteX14" fmla="*/ 201019 w 868438"/>
              <a:gd name="connsiteY14" fmla="*/ 419659 h 637494"/>
              <a:gd name="connsiteX15" fmla="*/ 131963 w 868438"/>
              <a:gd name="connsiteY15" fmla="*/ 405373 h 637494"/>
              <a:gd name="connsiteX16" fmla="*/ 74813 w 868438"/>
              <a:gd name="connsiteY16" fmla="*/ 398230 h 637494"/>
              <a:gd name="connsiteX17" fmla="*/ 458 w 868438"/>
              <a:gd name="connsiteY17" fmla="*/ 392227 h 637494"/>
              <a:gd name="connsiteX18" fmla="*/ 459 w 868438"/>
              <a:gd name="connsiteY18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868438 w 868438"/>
              <a:gd name="connsiteY8" fmla="*/ 361951 h 637494"/>
              <a:gd name="connsiteX9" fmla="*/ 592213 w 868438"/>
              <a:gd name="connsiteY9" fmla="*/ 637494 h 637494"/>
              <a:gd name="connsiteX10" fmla="*/ 522488 w 868438"/>
              <a:gd name="connsiteY10" fmla="*/ 581585 h 637494"/>
              <a:gd name="connsiteX11" fmla="*/ 448669 w 868438"/>
              <a:gd name="connsiteY11" fmla="*/ 529197 h 637494"/>
              <a:gd name="connsiteX12" fmla="*/ 386757 w 868438"/>
              <a:gd name="connsiteY12" fmla="*/ 493479 h 637494"/>
              <a:gd name="connsiteX13" fmla="*/ 334369 w 868438"/>
              <a:gd name="connsiteY13" fmla="*/ 467285 h 637494"/>
              <a:gd name="connsiteX14" fmla="*/ 267694 w 868438"/>
              <a:gd name="connsiteY14" fmla="*/ 441091 h 637494"/>
              <a:gd name="connsiteX15" fmla="*/ 201019 w 868438"/>
              <a:gd name="connsiteY15" fmla="*/ 419659 h 637494"/>
              <a:gd name="connsiteX16" fmla="*/ 131963 w 868438"/>
              <a:gd name="connsiteY16" fmla="*/ 405373 h 637494"/>
              <a:gd name="connsiteX17" fmla="*/ 74813 w 868438"/>
              <a:gd name="connsiteY17" fmla="*/ 398230 h 637494"/>
              <a:gd name="connsiteX18" fmla="*/ 458 w 868438"/>
              <a:gd name="connsiteY18" fmla="*/ 392227 h 637494"/>
              <a:gd name="connsiteX19" fmla="*/ 459 w 868438"/>
              <a:gd name="connsiteY19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868438 w 868438"/>
              <a:gd name="connsiteY9" fmla="*/ 361951 h 637494"/>
              <a:gd name="connsiteX10" fmla="*/ 592213 w 868438"/>
              <a:gd name="connsiteY10" fmla="*/ 637494 h 637494"/>
              <a:gd name="connsiteX11" fmla="*/ 522488 w 868438"/>
              <a:gd name="connsiteY11" fmla="*/ 581585 h 637494"/>
              <a:gd name="connsiteX12" fmla="*/ 448669 w 868438"/>
              <a:gd name="connsiteY12" fmla="*/ 529197 h 637494"/>
              <a:gd name="connsiteX13" fmla="*/ 386757 w 868438"/>
              <a:gd name="connsiteY13" fmla="*/ 493479 h 637494"/>
              <a:gd name="connsiteX14" fmla="*/ 334369 w 868438"/>
              <a:gd name="connsiteY14" fmla="*/ 467285 h 637494"/>
              <a:gd name="connsiteX15" fmla="*/ 267694 w 868438"/>
              <a:gd name="connsiteY15" fmla="*/ 441091 h 637494"/>
              <a:gd name="connsiteX16" fmla="*/ 201019 w 868438"/>
              <a:gd name="connsiteY16" fmla="*/ 419659 h 637494"/>
              <a:gd name="connsiteX17" fmla="*/ 131963 w 868438"/>
              <a:gd name="connsiteY17" fmla="*/ 405373 h 637494"/>
              <a:gd name="connsiteX18" fmla="*/ 74813 w 868438"/>
              <a:gd name="connsiteY18" fmla="*/ 398230 h 637494"/>
              <a:gd name="connsiteX19" fmla="*/ 458 w 868438"/>
              <a:gd name="connsiteY19" fmla="*/ 392227 h 637494"/>
              <a:gd name="connsiteX20" fmla="*/ 459 w 868438"/>
              <a:gd name="connsiteY20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868438 w 868438"/>
              <a:gd name="connsiteY10" fmla="*/ 361951 h 637494"/>
              <a:gd name="connsiteX11" fmla="*/ 592213 w 868438"/>
              <a:gd name="connsiteY11" fmla="*/ 637494 h 637494"/>
              <a:gd name="connsiteX12" fmla="*/ 522488 w 868438"/>
              <a:gd name="connsiteY12" fmla="*/ 581585 h 637494"/>
              <a:gd name="connsiteX13" fmla="*/ 448669 w 868438"/>
              <a:gd name="connsiteY13" fmla="*/ 529197 h 637494"/>
              <a:gd name="connsiteX14" fmla="*/ 386757 w 868438"/>
              <a:gd name="connsiteY14" fmla="*/ 493479 h 637494"/>
              <a:gd name="connsiteX15" fmla="*/ 334369 w 868438"/>
              <a:gd name="connsiteY15" fmla="*/ 467285 h 637494"/>
              <a:gd name="connsiteX16" fmla="*/ 267694 w 868438"/>
              <a:gd name="connsiteY16" fmla="*/ 441091 h 637494"/>
              <a:gd name="connsiteX17" fmla="*/ 201019 w 868438"/>
              <a:gd name="connsiteY17" fmla="*/ 419659 h 637494"/>
              <a:gd name="connsiteX18" fmla="*/ 131963 w 868438"/>
              <a:gd name="connsiteY18" fmla="*/ 405373 h 637494"/>
              <a:gd name="connsiteX19" fmla="*/ 74813 w 868438"/>
              <a:gd name="connsiteY19" fmla="*/ 398230 h 637494"/>
              <a:gd name="connsiteX20" fmla="*/ 458 w 868438"/>
              <a:gd name="connsiteY20" fmla="*/ 392227 h 637494"/>
              <a:gd name="connsiteX21" fmla="*/ 459 w 868438"/>
              <a:gd name="connsiteY21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5332 w 868438"/>
              <a:gd name="connsiteY6" fmla="*/ 79141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5332 w 868438"/>
              <a:gd name="connsiteY6" fmla="*/ 79141 h 637494"/>
              <a:gd name="connsiteX7" fmla="*/ 477244 w 868438"/>
              <a:gd name="connsiteY7" fmla="*/ 98191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46301 w 868438"/>
              <a:gd name="connsiteY8" fmla="*/ 136291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3444 w 868438"/>
              <a:gd name="connsiteY8" fmla="*/ 126766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3444 w 868438"/>
              <a:gd name="connsiteY8" fmla="*/ 126766 h 637494"/>
              <a:gd name="connsiteX9" fmla="*/ 636788 w 868438"/>
              <a:gd name="connsiteY9" fmla="*/ 179154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6788 w 868438"/>
              <a:gd name="connsiteY9" fmla="*/ 179154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6788 w 868438"/>
              <a:gd name="connsiteY9" fmla="*/ 179154 h 637494"/>
              <a:gd name="connsiteX10" fmla="*/ 753469 w 868438"/>
              <a:gd name="connsiteY10" fmla="*/ 252973 h 637494"/>
              <a:gd name="connsiteX11" fmla="*/ 810619 w 868438"/>
              <a:gd name="connsiteY11" fmla="*/ 307741 h 637494"/>
              <a:gd name="connsiteX12" fmla="*/ 868438 w 868438"/>
              <a:gd name="connsiteY12" fmla="*/ 361951 h 637494"/>
              <a:gd name="connsiteX13" fmla="*/ 592213 w 868438"/>
              <a:gd name="connsiteY13" fmla="*/ 637494 h 637494"/>
              <a:gd name="connsiteX14" fmla="*/ 522488 w 868438"/>
              <a:gd name="connsiteY14" fmla="*/ 581585 h 637494"/>
              <a:gd name="connsiteX15" fmla="*/ 448669 w 868438"/>
              <a:gd name="connsiteY15" fmla="*/ 529197 h 637494"/>
              <a:gd name="connsiteX16" fmla="*/ 386757 w 868438"/>
              <a:gd name="connsiteY16" fmla="*/ 493479 h 637494"/>
              <a:gd name="connsiteX17" fmla="*/ 334369 w 868438"/>
              <a:gd name="connsiteY17" fmla="*/ 467285 h 637494"/>
              <a:gd name="connsiteX18" fmla="*/ 267694 w 868438"/>
              <a:gd name="connsiteY18" fmla="*/ 441091 h 637494"/>
              <a:gd name="connsiteX19" fmla="*/ 201019 w 868438"/>
              <a:gd name="connsiteY19" fmla="*/ 419659 h 637494"/>
              <a:gd name="connsiteX20" fmla="*/ 131963 w 868438"/>
              <a:gd name="connsiteY20" fmla="*/ 405373 h 637494"/>
              <a:gd name="connsiteX21" fmla="*/ 74813 w 868438"/>
              <a:gd name="connsiteY21" fmla="*/ 398230 h 637494"/>
              <a:gd name="connsiteX22" fmla="*/ 458 w 868438"/>
              <a:gd name="connsiteY22" fmla="*/ 392227 h 637494"/>
              <a:gd name="connsiteX23" fmla="*/ 459 w 868438"/>
              <a:gd name="connsiteY23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6788 w 868438"/>
              <a:gd name="connsiteY9" fmla="*/ 179154 h 637494"/>
              <a:gd name="connsiteX10" fmla="*/ 689175 w 868438"/>
              <a:gd name="connsiteY10" fmla="*/ 207729 h 637494"/>
              <a:gd name="connsiteX11" fmla="*/ 753469 w 868438"/>
              <a:gd name="connsiteY11" fmla="*/ 252973 h 637494"/>
              <a:gd name="connsiteX12" fmla="*/ 810619 w 868438"/>
              <a:gd name="connsiteY12" fmla="*/ 307741 h 637494"/>
              <a:gd name="connsiteX13" fmla="*/ 868438 w 868438"/>
              <a:gd name="connsiteY13" fmla="*/ 361951 h 637494"/>
              <a:gd name="connsiteX14" fmla="*/ 592213 w 868438"/>
              <a:gd name="connsiteY14" fmla="*/ 637494 h 637494"/>
              <a:gd name="connsiteX15" fmla="*/ 522488 w 868438"/>
              <a:gd name="connsiteY15" fmla="*/ 581585 h 637494"/>
              <a:gd name="connsiteX16" fmla="*/ 448669 w 868438"/>
              <a:gd name="connsiteY16" fmla="*/ 529197 h 637494"/>
              <a:gd name="connsiteX17" fmla="*/ 386757 w 868438"/>
              <a:gd name="connsiteY17" fmla="*/ 493479 h 637494"/>
              <a:gd name="connsiteX18" fmla="*/ 334369 w 868438"/>
              <a:gd name="connsiteY18" fmla="*/ 467285 h 637494"/>
              <a:gd name="connsiteX19" fmla="*/ 267694 w 868438"/>
              <a:gd name="connsiteY19" fmla="*/ 441091 h 637494"/>
              <a:gd name="connsiteX20" fmla="*/ 201019 w 868438"/>
              <a:gd name="connsiteY20" fmla="*/ 419659 h 637494"/>
              <a:gd name="connsiteX21" fmla="*/ 131963 w 868438"/>
              <a:gd name="connsiteY21" fmla="*/ 405373 h 637494"/>
              <a:gd name="connsiteX22" fmla="*/ 74813 w 868438"/>
              <a:gd name="connsiteY22" fmla="*/ 398230 h 637494"/>
              <a:gd name="connsiteX23" fmla="*/ 458 w 868438"/>
              <a:gd name="connsiteY23" fmla="*/ 392227 h 637494"/>
              <a:gd name="connsiteX24" fmla="*/ 459 w 868438"/>
              <a:gd name="connsiteY24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4407 w 868438"/>
              <a:gd name="connsiteY9" fmla="*/ 172011 h 637494"/>
              <a:gd name="connsiteX10" fmla="*/ 689175 w 868438"/>
              <a:gd name="connsiteY10" fmla="*/ 207729 h 637494"/>
              <a:gd name="connsiteX11" fmla="*/ 753469 w 868438"/>
              <a:gd name="connsiteY11" fmla="*/ 252973 h 637494"/>
              <a:gd name="connsiteX12" fmla="*/ 810619 w 868438"/>
              <a:gd name="connsiteY12" fmla="*/ 307741 h 637494"/>
              <a:gd name="connsiteX13" fmla="*/ 868438 w 868438"/>
              <a:gd name="connsiteY13" fmla="*/ 361951 h 637494"/>
              <a:gd name="connsiteX14" fmla="*/ 592213 w 868438"/>
              <a:gd name="connsiteY14" fmla="*/ 637494 h 637494"/>
              <a:gd name="connsiteX15" fmla="*/ 522488 w 868438"/>
              <a:gd name="connsiteY15" fmla="*/ 581585 h 637494"/>
              <a:gd name="connsiteX16" fmla="*/ 448669 w 868438"/>
              <a:gd name="connsiteY16" fmla="*/ 529197 h 637494"/>
              <a:gd name="connsiteX17" fmla="*/ 386757 w 868438"/>
              <a:gd name="connsiteY17" fmla="*/ 493479 h 637494"/>
              <a:gd name="connsiteX18" fmla="*/ 334369 w 868438"/>
              <a:gd name="connsiteY18" fmla="*/ 467285 h 637494"/>
              <a:gd name="connsiteX19" fmla="*/ 267694 w 868438"/>
              <a:gd name="connsiteY19" fmla="*/ 441091 h 637494"/>
              <a:gd name="connsiteX20" fmla="*/ 201019 w 868438"/>
              <a:gd name="connsiteY20" fmla="*/ 419659 h 637494"/>
              <a:gd name="connsiteX21" fmla="*/ 131963 w 868438"/>
              <a:gd name="connsiteY21" fmla="*/ 405373 h 637494"/>
              <a:gd name="connsiteX22" fmla="*/ 74813 w 868438"/>
              <a:gd name="connsiteY22" fmla="*/ 398230 h 637494"/>
              <a:gd name="connsiteX23" fmla="*/ 458 w 868438"/>
              <a:gd name="connsiteY23" fmla="*/ 392227 h 637494"/>
              <a:gd name="connsiteX24" fmla="*/ 459 w 868438"/>
              <a:gd name="connsiteY24" fmla="*/ 0 h 637494"/>
              <a:gd name="connsiteX0" fmla="*/ 0 w 869784"/>
              <a:gd name="connsiteY0" fmla="*/ 262751 h 634553"/>
              <a:gd name="connsiteX1" fmla="*/ 78540 w 869784"/>
              <a:gd name="connsiteY1" fmla="*/ 0 h 634553"/>
              <a:gd name="connsiteX2" fmla="*/ 152359 w 869784"/>
              <a:gd name="connsiteY2" fmla="*/ 4763 h 634553"/>
              <a:gd name="connsiteX3" fmla="*/ 216653 w 869784"/>
              <a:gd name="connsiteY3" fmla="*/ 14288 h 634553"/>
              <a:gd name="connsiteX4" fmla="*/ 269040 w 869784"/>
              <a:gd name="connsiteY4" fmla="*/ 26194 h 634553"/>
              <a:gd name="connsiteX5" fmla="*/ 347621 w 869784"/>
              <a:gd name="connsiteY5" fmla="*/ 47625 h 634553"/>
              <a:gd name="connsiteX6" fmla="*/ 419060 w 869784"/>
              <a:gd name="connsiteY6" fmla="*/ 69056 h 634553"/>
              <a:gd name="connsiteX7" fmla="*/ 478590 w 869784"/>
              <a:gd name="connsiteY7" fmla="*/ 95250 h 634553"/>
              <a:gd name="connsiteX8" fmla="*/ 552409 w 869784"/>
              <a:gd name="connsiteY8" fmla="*/ 126207 h 634553"/>
              <a:gd name="connsiteX9" fmla="*/ 635753 w 869784"/>
              <a:gd name="connsiteY9" fmla="*/ 169070 h 634553"/>
              <a:gd name="connsiteX10" fmla="*/ 690521 w 869784"/>
              <a:gd name="connsiteY10" fmla="*/ 204788 h 634553"/>
              <a:gd name="connsiteX11" fmla="*/ 754815 w 869784"/>
              <a:gd name="connsiteY11" fmla="*/ 250032 h 634553"/>
              <a:gd name="connsiteX12" fmla="*/ 811965 w 869784"/>
              <a:gd name="connsiteY12" fmla="*/ 304800 h 634553"/>
              <a:gd name="connsiteX13" fmla="*/ 869784 w 869784"/>
              <a:gd name="connsiteY13" fmla="*/ 359010 h 634553"/>
              <a:gd name="connsiteX14" fmla="*/ 593559 w 869784"/>
              <a:gd name="connsiteY14" fmla="*/ 634553 h 634553"/>
              <a:gd name="connsiteX15" fmla="*/ 523834 w 869784"/>
              <a:gd name="connsiteY15" fmla="*/ 578644 h 634553"/>
              <a:gd name="connsiteX16" fmla="*/ 450015 w 869784"/>
              <a:gd name="connsiteY16" fmla="*/ 526256 h 634553"/>
              <a:gd name="connsiteX17" fmla="*/ 388103 w 869784"/>
              <a:gd name="connsiteY17" fmla="*/ 490538 h 634553"/>
              <a:gd name="connsiteX18" fmla="*/ 335715 w 869784"/>
              <a:gd name="connsiteY18" fmla="*/ 464344 h 634553"/>
              <a:gd name="connsiteX19" fmla="*/ 269040 w 869784"/>
              <a:gd name="connsiteY19" fmla="*/ 438150 h 634553"/>
              <a:gd name="connsiteX20" fmla="*/ 202365 w 869784"/>
              <a:gd name="connsiteY20" fmla="*/ 416718 h 634553"/>
              <a:gd name="connsiteX21" fmla="*/ 133309 w 869784"/>
              <a:gd name="connsiteY21" fmla="*/ 402432 h 634553"/>
              <a:gd name="connsiteX22" fmla="*/ 76159 w 869784"/>
              <a:gd name="connsiteY22" fmla="*/ 395289 h 634553"/>
              <a:gd name="connsiteX23" fmla="*/ 1804 w 869784"/>
              <a:gd name="connsiteY23" fmla="*/ 389286 h 634553"/>
              <a:gd name="connsiteX24" fmla="*/ 0 w 869784"/>
              <a:gd name="connsiteY24" fmla="*/ 262751 h 634553"/>
              <a:gd name="connsiteX0" fmla="*/ 0 w 811965"/>
              <a:gd name="connsiteY0" fmla="*/ 262751 h 634553"/>
              <a:gd name="connsiteX1" fmla="*/ 78540 w 811965"/>
              <a:gd name="connsiteY1" fmla="*/ 0 h 634553"/>
              <a:gd name="connsiteX2" fmla="*/ 152359 w 811965"/>
              <a:gd name="connsiteY2" fmla="*/ 4763 h 634553"/>
              <a:gd name="connsiteX3" fmla="*/ 216653 w 811965"/>
              <a:gd name="connsiteY3" fmla="*/ 14288 h 634553"/>
              <a:gd name="connsiteX4" fmla="*/ 269040 w 811965"/>
              <a:gd name="connsiteY4" fmla="*/ 26194 h 634553"/>
              <a:gd name="connsiteX5" fmla="*/ 347621 w 811965"/>
              <a:gd name="connsiteY5" fmla="*/ 47625 h 634553"/>
              <a:gd name="connsiteX6" fmla="*/ 419060 w 811965"/>
              <a:gd name="connsiteY6" fmla="*/ 69056 h 634553"/>
              <a:gd name="connsiteX7" fmla="*/ 478590 w 811965"/>
              <a:gd name="connsiteY7" fmla="*/ 95250 h 634553"/>
              <a:gd name="connsiteX8" fmla="*/ 552409 w 811965"/>
              <a:gd name="connsiteY8" fmla="*/ 126207 h 634553"/>
              <a:gd name="connsiteX9" fmla="*/ 635753 w 811965"/>
              <a:gd name="connsiteY9" fmla="*/ 169070 h 634553"/>
              <a:gd name="connsiteX10" fmla="*/ 690521 w 811965"/>
              <a:gd name="connsiteY10" fmla="*/ 204788 h 634553"/>
              <a:gd name="connsiteX11" fmla="*/ 754815 w 811965"/>
              <a:gd name="connsiteY11" fmla="*/ 250032 h 634553"/>
              <a:gd name="connsiteX12" fmla="*/ 811965 w 811965"/>
              <a:gd name="connsiteY12" fmla="*/ 304800 h 634553"/>
              <a:gd name="connsiteX13" fmla="*/ 671274 w 811965"/>
              <a:gd name="connsiteY13" fmla="*/ 562214 h 634553"/>
              <a:gd name="connsiteX14" fmla="*/ 593559 w 811965"/>
              <a:gd name="connsiteY14" fmla="*/ 634553 h 634553"/>
              <a:gd name="connsiteX15" fmla="*/ 523834 w 811965"/>
              <a:gd name="connsiteY15" fmla="*/ 578644 h 634553"/>
              <a:gd name="connsiteX16" fmla="*/ 450015 w 811965"/>
              <a:gd name="connsiteY16" fmla="*/ 526256 h 634553"/>
              <a:gd name="connsiteX17" fmla="*/ 388103 w 811965"/>
              <a:gd name="connsiteY17" fmla="*/ 490538 h 634553"/>
              <a:gd name="connsiteX18" fmla="*/ 335715 w 811965"/>
              <a:gd name="connsiteY18" fmla="*/ 464344 h 634553"/>
              <a:gd name="connsiteX19" fmla="*/ 269040 w 811965"/>
              <a:gd name="connsiteY19" fmla="*/ 438150 h 634553"/>
              <a:gd name="connsiteX20" fmla="*/ 202365 w 811965"/>
              <a:gd name="connsiteY20" fmla="*/ 416718 h 634553"/>
              <a:gd name="connsiteX21" fmla="*/ 133309 w 811965"/>
              <a:gd name="connsiteY21" fmla="*/ 402432 h 634553"/>
              <a:gd name="connsiteX22" fmla="*/ 76159 w 811965"/>
              <a:gd name="connsiteY22" fmla="*/ 395289 h 634553"/>
              <a:gd name="connsiteX23" fmla="*/ 1804 w 811965"/>
              <a:gd name="connsiteY23" fmla="*/ 389286 h 634553"/>
              <a:gd name="connsiteX24" fmla="*/ 0 w 811965"/>
              <a:gd name="connsiteY24" fmla="*/ 262751 h 634553"/>
              <a:gd name="connsiteX0" fmla="*/ 0 w 756053"/>
              <a:gd name="connsiteY0" fmla="*/ 262751 h 634553"/>
              <a:gd name="connsiteX1" fmla="*/ 78540 w 756053"/>
              <a:gd name="connsiteY1" fmla="*/ 0 h 634553"/>
              <a:gd name="connsiteX2" fmla="*/ 152359 w 756053"/>
              <a:gd name="connsiteY2" fmla="*/ 4763 h 634553"/>
              <a:gd name="connsiteX3" fmla="*/ 216653 w 756053"/>
              <a:gd name="connsiteY3" fmla="*/ 14288 h 634553"/>
              <a:gd name="connsiteX4" fmla="*/ 269040 w 756053"/>
              <a:gd name="connsiteY4" fmla="*/ 26194 h 634553"/>
              <a:gd name="connsiteX5" fmla="*/ 347621 w 756053"/>
              <a:gd name="connsiteY5" fmla="*/ 47625 h 634553"/>
              <a:gd name="connsiteX6" fmla="*/ 419060 w 756053"/>
              <a:gd name="connsiteY6" fmla="*/ 69056 h 634553"/>
              <a:gd name="connsiteX7" fmla="*/ 478590 w 756053"/>
              <a:gd name="connsiteY7" fmla="*/ 95250 h 634553"/>
              <a:gd name="connsiteX8" fmla="*/ 552409 w 756053"/>
              <a:gd name="connsiteY8" fmla="*/ 126207 h 634553"/>
              <a:gd name="connsiteX9" fmla="*/ 635753 w 756053"/>
              <a:gd name="connsiteY9" fmla="*/ 169070 h 634553"/>
              <a:gd name="connsiteX10" fmla="*/ 690521 w 756053"/>
              <a:gd name="connsiteY10" fmla="*/ 204788 h 634553"/>
              <a:gd name="connsiteX11" fmla="*/ 754815 w 756053"/>
              <a:gd name="connsiteY11" fmla="*/ 250032 h 634553"/>
              <a:gd name="connsiteX12" fmla="*/ 616419 w 756053"/>
              <a:gd name="connsiteY12" fmla="*/ 503140 h 634553"/>
              <a:gd name="connsiteX13" fmla="*/ 671274 w 756053"/>
              <a:gd name="connsiteY13" fmla="*/ 562214 h 634553"/>
              <a:gd name="connsiteX14" fmla="*/ 593559 w 756053"/>
              <a:gd name="connsiteY14" fmla="*/ 634553 h 634553"/>
              <a:gd name="connsiteX15" fmla="*/ 523834 w 756053"/>
              <a:gd name="connsiteY15" fmla="*/ 578644 h 634553"/>
              <a:gd name="connsiteX16" fmla="*/ 450015 w 756053"/>
              <a:gd name="connsiteY16" fmla="*/ 526256 h 634553"/>
              <a:gd name="connsiteX17" fmla="*/ 388103 w 756053"/>
              <a:gd name="connsiteY17" fmla="*/ 490538 h 634553"/>
              <a:gd name="connsiteX18" fmla="*/ 335715 w 756053"/>
              <a:gd name="connsiteY18" fmla="*/ 464344 h 634553"/>
              <a:gd name="connsiteX19" fmla="*/ 269040 w 756053"/>
              <a:gd name="connsiteY19" fmla="*/ 438150 h 634553"/>
              <a:gd name="connsiteX20" fmla="*/ 202365 w 756053"/>
              <a:gd name="connsiteY20" fmla="*/ 416718 h 634553"/>
              <a:gd name="connsiteX21" fmla="*/ 133309 w 756053"/>
              <a:gd name="connsiteY21" fmla="*/ 402432 h 634553"/>
              <a:gd name="connsiteX22" fmla="*/ 76159 w 756053"/>
              <a:gd name="connsiteY22" fmla="*/ 395289 h 634553"/>
              <a:gd name="connsiteX23" fmla="*/ 1804 w 756053"/>
              <a:gd name="connsiteY23" fmla="*/ 389286 h 634553"/>
              <a:gd name="connsiteX24" fmla="*/ 0 w 756053"/>
              <a:gd name="connsiteY24" fmla="*/ 262751 h 634553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23834 w 756053"/>
              <a:gd name="connsiteY15" fmla="*/ 578644 h 654010"/>
              <a:gd name="connsiteX16" fmla="*/ 450015 w 756053"/>
              <a:gd name="connsiteY16" fmla="*/ 526256 h 654010"/>
              <a:gd name="connsiteX17" fmla="*/ 388103 w 756053"/>
              <a:gd name="connsiteY17" fmla="*/ 490538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50015 w 756053"/>
              <a:gd name="connsiteY16" fmla="*/ 526256 h 654010"/>
              <a:gd name="connsiteX17" fmla="*/ 388103 w 756053"/>
              <a:gd name="connsiteY17" fmla="*/ 490538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8103 w 756053"/>
              <a:gd name="connsiteY17" fmla="*/ 490538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27598 w 756053"/>
              <a:gd name="connsiteY21" fmla="*/ 401954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27598 w 756053"/>
              <a:gd name="connsiteY21" fmla="*/ 401954 h 654010"/>
              <a:gd name="connsiteX22" fmla="*/ 70767 w 756053"/>
              <a:gd name="connsiteY22" fmla="*/ 391004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54609 w 756053"/>
              <a:gd name="connsiteY13" fmla="*/ 578072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27598 w 756053"/>
              <a:gd name="connsiteY21" fmla="*/ 401954 h 654010"/>
              <a:gd name="connsiteX22" fmla="*/ 70767 w 756053"/>
              <a:gd name="connsiteY22" fmla="*/ 391004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26"/>
              <a:gd name="connsiteY0" fmla="*/ 262751 h 654010"/>
              <a:gd name="connsiteX1" fmla="*/ 78540 w 756026"/>
              <a:gd name="connsiteY1" fmla="*/ 0 h 654010"/>
              <a:gd name="connsiteX2" fmla="*/ 152359 w 756026"/>
              <a:gd name="connsiteY2" fmla="*/ 4763 h 654010"/>
              <a:gd name="connsiteX3" fmla="*/ 216653 w 756026"/>
              <a:gd name="connsiteY3" fmla="*/ 14288 h 654010"/>
              <a:gd name="connsiteX4" fmla="*/ 269040 w 756026"/>
              <a:gd name="connsiteY4" fmla="*/ 26194 h 654010"/>
              <a:gd name="connsiteX5" fmla="*/ 347621 w 756026"/>
              <a:gd name="connsiteY5" fmla="*/ 47625 h 654010"/>
              <a:gd name="connsiteX6" fmla="*/ 419060 w 756026"/>
              <a:gd name="connsiteY6" fmla="*/ 69056 h 654010"/>
              <a:gd name="connsiteX7" fmla="*/ 478590 w 756026"/>
              <a:gd name="connsiteY7" fmla="*/ 95250 h 654010"/>
              <a:gd name="connsiteX8" fmla="*/ 552409 w 756026"/>
              <a:gd name="connsiteY8" fmla="*/ 126207 h 654010"/>
              <a:gd name="connsiteX9" fmla="*/ 635753 w 756026"/>
              <a:gd name="connsiteY9" fmla="*/ 169070 h 654010"/>
              <a:gd name="connsiteX10" fmla="*/ 690521 w 756026"/>
              <a:gd name="connsiteY10" fmla="*/ 204788 h 654010"/>
              <a:gd name="connsiteX11" fmla="*/ 754815 w 756026"/>
              <a:gd name="connsiteY11" fmla="*/ 250032 h 654010"/>
              <a:gd name="connsiteX12" fmla="*/ 612282 w 756026"/>
              <a:gd name="connsiteY12" fmla="*/ 529634 h 654010"/>
              <a:gd name="connsiteX13" fmla="*/ 654609 w 756026"/>
              <a:gd name="connsiteY13" fmla="*/ 578072 h 654010"/>
              <a:gd name="connsiteX14" fmla="*/ 581706 w 756026"/>
              <a:gd name="connsiteY14" fmla="*/ 654010 h 654010"/>
              <a:gd name="connsiteX15" fmla="*/ 517167 w 756026"/>
              <a:gd name="connsiteY15" fmla="*/ 589588 h 654010"/>
              <a:gd name="connsiteX16" fmla="*/ 436689 w 756026"/>
              <a:gd name="connsiteY16" fmla="*/ 525140 h 654010"/>
              <a:gd name="connsiteX17" fmla="*/ 380488 w 756026"/>
              <a:gd name="connsiteY17" fmla="*/ 489900 h 654010"/>
              <a:gd name="connsiteX18" fmla="*/ 328100 w 756026"/>
              <a:gd name="connsiteY18" fmla="*/ 463706 h 654010"/>
              <a:gd name="connsiteX19" fmla="*/ 257617 w 756026"/>
              <a:gd name="connsiteY19" fmla="*/ 437193 h 654010"/>
              <a:gd name="connsiteX20" fmla="*/ 193006 w 756026"/>
              <a:gd name="connsiteY20" fmla="*/ 414018 h 654010"/>
              <a:gd name="connsiteX21" fmla="*/ 127598 w 756026"/>
              <a:gd name="connsiteY21" fmla="*/ 401954 h 654010"/>
              <a:gd name="connsiteX22" fmla="*/ 70767 w 756026"/>
              <a:gd name="connsiteY22" fmla="*/ 391004 h 654010"/>
              <a:gd name="connsiteX23" fmla="*/ 1804 w 756026"/>
              <a:gd name="connsiteY23" fmla="*/ 389286 h 654010"/>
              <a:gd name="connsiteX24" fmla="*/ 0 w 756026"/>
              <a:gd name="connsiteY24" fmla="*/ 262751 h 654010"/>
              <a:gd name="connsiteX0" fmla="*/ 0 w 690521"/>
              <a:gd name="connsiteY0" fmla="*/ 262751 h 654010"/>
              <a:gd name="connsiteX1" fmla="*/ 78540 w 690521"/>
              <a:gd name="connsiteY1" fmla="*/ 0 h 654010"/>
              <a:gd name="connsiteX2" fmla="*/ 152359 w 690521"/>
              <a:gd name="connsiteY2" fmla="*/ 4763 h 654010"/>
              <a:gd name="connsiteX3" fmla="*/ 216653 w 690521"/>
              <a:gd name="connsiteY3" fmla="*/ 14288 h 654010"/>
              <a:gd name="connsiteX4" fmla="*/ 269040 w 690521"/>
              <a:gd name="connsiteY4" fmla="*/ 26194 h 654010"/>
              <a:gd name="connsiteX5" fmla="*/ 347621 w 690521"/>
              <a:gd name="connsiteY5" fmla="*/ 47625 h 654010"/>
              <a:gd name="connsiteX6" fmla="*/ 419060 w 690521"/>
              <a:gd name="connsiteY6" fmla="*/ 69056 h 654010"/>
              <a:gd name="connsiteX7" fmla="*/ 478590 w 690521"/>
              <a:gd name="connsiteY7" fmla="*/ 95250 h 654010"/>
              <a:gd name="connsiteX8" fmla="*/ 552409 w 690521"/>
              <a:gd name="connsiteY8" fmla="*/ 126207 h 654010"/>
              <a:gd name="connsiteX9" fmla="*/ 635753 w 690521"/>
              <a:gd name="connsiteY9" fmla="*/ 169070 h 654010"/>
              <a:gd name="connsiteX10" fmla="*/ 690521 w 690521"/>
              <a:gd name="connsiteY10" fmla="*/ 204788 h 654010"/>
              <a:gd name="connsiteX11" fmla="*/ 585420 w 690521"/>
              <a:gd name="connsiteY11" fmla="*/ 509993 h 654010"/>
              <a:gd name="connsiteX12" fmla="*/ 612282 w 690521"/>
              <a:gd name="connsiteY12" fmla="*/ 529634 h 654010"/>
              <a:gd name="connsiteX13" fmla="*/ 654609 w 690521"/>
              <a:gd name="connsiteY13" fmla="*/ 578072 h 654010"/>
              <a:gd name="connsiteX14" fmla="*/ 581706 w 690521"/>
              <a:gd name="connsiteY14" fmla="*/ 654010 h 654010"/>
              <a:gd name="connsiteX15" fmla="*/ 517167 w 690521"/>
              <a:gd name="connsiteY15" fmla="*/ 589588 h 654010"/>
              <a:gd name="connsiteX16" fmla="*/ 436689 w 690521"/>
              <a:gd name="connsiteY16" fmla="*/ 525140 h 654010"/>
              <a:gd name="connsiteX17" fmla="*/ 380488 w 690521"/>
              <a:gd name="connsiteY17" fmla="*/ 489900 h 654010"/>
              <a:gd name="connsiteX18" fmla="*/ 328100 w 690521"/>
              <a:gd name="connsiteY18" fmla="*/ 463706 h 654010"/>
              <a:gd name="connsiteX19" fmla="*/ 257617 w 690521"/>
              <a:gd name="connsiteY19" fmla="*/ 437193 h 654010"/>
              <a:gd name="connsiteX20" fmla="*/ 193006 w 690521"/>
              <a:gd name="connsiteY20" fmla="*/ 414018 h 654010"/>
              <a:gd name="connsiteX21" fmla="*/ 127598 w 690521"/>
              <a:gd name="connsiteY21" fmla="*/ 401954 h 654010"/>
              <a:gd name="connsiteX22" fmla="*/ 70767 w 690521"/>
              <a:gd name="connsiteY22" fmla="*/ 391004 h 654010"/>
              <a:gd name="connsiteX23" fmla="*/ 1804 w 690521"/>
              <a:gd name="connsiteY23" fmla="*/ 389286 h 654010"/>
              <a:gd name="connsiteX24" fmla="*/ 0 w 690521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478590 w 654609"/>
              <a:gd name="connsiteY7" fmla="*/ 95250 h 654010"/>
              <a:gd name="connsiteX8" fmla="*/ 552409 w 654609"/>
              <a:gd name="connsiteY8" fmla="*/ 126207 h 654010"/>
              <a:gd name="connsiteX9" fmla="*/ 635753 w 654609"/>
              <a:gd name="connsiteY9" fmla="*/ 169070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478590 w 654609"/>
              <a:gd name="connsiteY7" fmla="*/ 95250 h 654010"/>
              <a:gd name="connsiteX8" fmla="*/ 552409 w 654609"/>
              <a:gd name="connsiteY8" fmla="*/ 126207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478590 w 654609"/>
              <a:gd name="connsiteY7" fmla="*/ 95250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292643 w 654609"/>
              <a:gd name="connsiteY5" fmla="*/ 246235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292643 w 654609"/>
              <a:gd name="connsiteY5" fmla="*/ 246235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288636 w 654609"/>
              <a:gd name="connsiteY5" fmla="*/ 339839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193160 w 654609"/>
              <a:gd name="connsiteY3" fmla="*/ 42994 h 654010"/>
              <a:gd name="connsiteX4" fmla="*/ 269040 w 654609"/>
              <a:gd name="connsiteY4" fmla="*/ 26194 h 654010"/>
              <a:gd name="connsiteX5" fmla="*/ 288636 w 654609"/>
              <a:gd name="connsiteY5" fmla="*/ 339839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193160 w 654609"/>
              <a:gd name="connsiteY3" fmla="*/ 42994 h 654010"/>
              <a:gd name="connsiteX4" fmla="*/ 269040 w 654609"/>
              <a:gd name="connsiteY4" fmla="*/ 26194 h 654010"/>
              <a:gd name="connsiteX5" fmla="*/ 288636 w 654609"/>
              <a:gd name="connsiteY5" fmla="*/ 339839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2 h 654011"/>
              <a:gd name="connsiteX1" fmla="*/ 78540 w 654609"/>
              <a:gd name="connsiteY1" fmla="*/ 1 h 654011"/>
              <a:gd name="connsiteX2" fmla="*/ 89235 w 654609"/>
              <a:gd name="connsiteY2" fmla="*/ 206613 h 654011"/>
              <a:gd name="connsiteX3" fmla="*/ 152359 w 654609"/>
              <a:gd name="connsiteY3" fmla="*/ 4764 h 654011"/>
              <a:gd name="connsiteX4" fmla="*/ 193160 w 654609"/>
              <a:gd name="connsiteY4" fmla="*/ 42995 h 654011"/>
              <a:gd name="connsiteX5" fmla="*/ 269040 w 654609"/>
              <a:gd name="connsiteY5" fmla="*/ 26195 h 654011"/>
              <a:gd name="connsiteX6" fmla="*/ 288636 w 654609"/>
              <a:gd name="connsiteY6" fmla="*/ 339840 h 654011"/>
              <a:gd name="connsiteX7" fmla="*/ 343260 w 654609"/>
              <a:gd name="connsiteY7" fmla="*/ 356030 h 654011"/>
              <a:gd name="connsiteX8" fmla="*/ 394856 w 654609"/>
              <a:gd name="connsiteY8" fmla="*/ 385394 h 654011"/>
              <a:gd name="connsiteX9" fmla="*/ 448053 w 654609"/>
              <a:gd name="connsiteY9" fmla="*/ 410789 h 654011"/>
              <a:gd name="connsiteX10" fmla="*/ 501254 w 654609"/>
              <a:gd name="connsiteY10" fmla="*/ 447293 h 654011"/>
              <a:gd name="connsiteX11" fmla="*/ 546982 w 654609"/>
              <a:gd name="connsiteY11" fmla="*/ 476503 h 654011"/>
              <a:gd name="connsiteX12" fmla="*/ 585420 w 654609"/>
              <a:gd name="connsiteY12" fmla="*/ 509994 h 654011"/>
              <a:gd name="connsiteX13" fmla="*/ 612282 w 654609"/>
              <a:gd name="connsiteY13" fmla="*/ 529635 h 654011"/>
              <a:gd name="connsiteX14" fmla="*/ 654609 w 654609"/>
              <a:gd name="connsiteY14" fmla="*/ 578073 h 654011"/>
              <a:gd name="connsiteX15" fmla="*/ 581706 w 654609"/>
              <a:gd name="connsiteY15" fmla="*/ 654011 h 654011"/>
              <a:gd name="connsiteX16" fmla="*/ 517167 w 654609"/>
              <a:gd name="connsiteY16" fmla="*/ 589589 h 654011"/>
              <a:gd name="connsiteX17" fmla="*/ 436689 w 654609"/>
              <a:gd name="connsiteY17" fmla="*/ 525141 h 654011"/>
              <a:gd name="connsiteX18" fmla="*/ 380488 w 654609"/>
              <a:gd name="connsiteY18" fmla="*/ 489901 h 654011"/>
              <a:gd name="connsiteX19" fmla="*/ 328100 w 654609"/>
              <a:gd name="connsiteY19" fmla="*/ 463707 h 654011"/>
              <a:gd name="connsiteX20" fmla="*/ 257617 w 654609"/>
              <a:gd name="connsiteY20" fmla="*/ 437194 h 654011"/>
              <a:gd name="connsiteX21" fmla="*/ 193006 w 654609"/>
              <a:gd name="connsiteY21" fmla="*/ 414019 h 654011"/>
              <a:gd name="connsiteX22" fmla="*/ 127598 w 654609"/>
              <a:gd name="connsiteY22" fmla="*/ 401955 h 654011"/>
              <a:gd name="connsiteX23" fmla="*/ 70767 w 654609"/>
              <a:gd name="connsiteY23" fmla="*/ 391005 h 654011"/>
              <a:gd name="connsiteX24" fmla="*/ 1804 w 654609"/>
              <a:gd name="connsiteY24" fmla="*/ 389287 h 654011"/>
              <a:gd name="connsiteX25" fmla="*/ 0 w 654609"/>
              <a:gd name="connsiteY25" fmla="*/ 262752 h 654011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69040 w 654609"/>
              <a:gd name="connsiteY5" fmla="*/ 2143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18793 w 654609"/>
              <a:gd name="connsiteY5" fmla="*/ 28562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18793 w 654609"/>
              <a:gd name="connsiteY5" fmla="*/ 28562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01649 w 654609"/>
              <a:gd name="connsiteY5" fmla="*/ 30719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39268 w 654609"/>
              <a:gd name="connsiteY4" fmla="*/ 292532 h 649247"/>
              <a:gd name="connsiteX5" fmla="*/ 201649 w 654609"/>
              <a:gd name="connsiteY5" fmla="*/ 30719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57172 w 654609"/>
              <a:gd name="connsiteY1" fmla="*/ 250343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39268 w 654609"/>
              <a:gd name="connsiteY4" fmla="*/ 292532 h 649247"/>
              <a:gd name="connsiteX5" fmla="*/ 201649 w 654609"/>
              <a:gd name="connsiteY5" fmla="*/ 30719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56139 h 447398"/>
              <a:gd name="connsiteX1" fmla="*/ 57172 w 654609"/>
              <a:gd name="connsiteY1" fmla="*/ 48494 h 447398"/>
              <a:gd name="connsiteX2" fmla="*/ 89235 w 654609"/>
              <a:gd name="connsiteY2" fmla="*/ 0 h 447398"/>
              <a:gd name="connsiteX3" fmla="*/ 87981 w 654609"/>
              <a:gd name="connsiteY3" fmla="*/ 86080 h 447398"/>
              <a:gd name="connsiteX4" fmla="*/ 139268 w 654609"/>
              <a:gd name="connsiteY4" fmla="*/ 90683 h 447398"/>
              <a:gd name="connsiteX5" fmla="*/ 201649 w 654609"/>
              <a:gd name="connsiteY5" fmla="*/ 105342 h 447398"/>
              <a:gd name="connsiteX6" fmla="*/ 288636 w 654609"/>
              <a:gd name="connsiteY6" fmla="*/ 133227 h 447398"/>
              <a:gd name="connsiteX7" fmla="*/ 343260 w 654609"/>
              <a:gd name="connsiteY7" fmla="*/ 149417 h 447398"/>
              <a:gd name="connsiteX8" fmla="*/ 394856 w 654609"/>
              <a:gd name="connsiteY8" fmla="*/ 178781 h 447398"/>
              <a:gd name="connsiteX9" fmla="*/ 448053 w 654609"/>
              <a:gd name="connsiteY9" fmla="*/ 204176 h 447398"/>
              <a:gd name="connsiteX10" fmla="*/ 501254 w 654609"/>
              <a:gd name="connsiteY10" fmla="*/ 240680 h 447398"/>
              <a:gd name="connsiteX11" fmla="*/ 546982 w 654609"/>
              <a:gd name="connsiteY11" fmla="*/ 269890 h 447398"/>
              <a:gd name="connsiteX12" fmla="*/ 585420 w 654609"/>
              <a:gd name="connsiteY12" fmla="*/ 303381 h 447398"/>
              <a:gd name="connsiteX13" fmla="*/ 612282 w 654609"/>
              <a:gd name="connsiteY13" fmla="*/ 323022 h 447398"/>
              <a:gd name="connsiteX14" fmla="*/ 654609 w 654609"/>
              <a:gd name="connsiteY14" fmla="*/ 371460 h 447398"/>
              <a:gd name="connsiteX15" fmla="*/ 581706 w 654609"/>
              <a:gd name="connsiteY15" fmla="*/ 447398 h 447398"/>
              <a:gd name="connsiteX16" fmla="*/ 517167 w 654609"/>
              <a:gd name="connsiteY16" fmla="*/ 382976 h 447398"/>
              <a:gd name="connsiteX17" fmla="*/ 436689 w 654609"/>
              <a:gd name="connsiteY17" fmla="*/ 318528 h 447398"/>
              <a:gd name="connsiteX18" fmla="*/ 380488 w 654609"/>
              <a:gd name="connsiteY18" fmla="*/ 283288 h 447398"/>
              <a:gd name="connsiteX19" fmla="*/ 328100 w 654609"/>
              <a:gd name="connsiteY19" fmla="*/ 257094 h 447398"/>
              <a:gd name="connsiteX20" fmla="*/ 257617 w 654609"/>
              <a:gd name="connsiteY20" fmla="*/ 230581 h 447398"/>
              <a:gd name="connsiteX21" fmla="*/ 193006 w 654609"/>
              <a:gd name="connsiteY21" fmla="*/ 207406 h 447398"/>
              <a:gd name="connsiteX22" fmla="*/ 127598 w 654609"/>
              <a:gd name="connsiteY22" fmla="*/ 195342 h 447398"/>
              <a:gd name="connsiteX23" fmla="*/ 70767 w 654609"/>
              <a:gd name="connsiteY23" fmla="*/ 184392 h 447398"/>
              <a:gd name="connsiteX24" fmla="*/ 1804 w 654609"/>
              <a:gd name="connsiteY24" fmla="*/ 182674 h 447398"/>
              <a:gd name="connsiteX25" fmla="*/ 0 w 654609"/>
              <a:gd name="connsiteY25" fmla="*/ 56139 h 447398"/>
              <a:gd name="connsiteX0" fmla="*/ 0 w 654609"/>
              <a:gd name="connsiteY0" fmla="*/ 7653 h 398912"/>
              <a:gd name="connsiteX1" fmla="*/ 57172 w 654609"/>
              <a:gd name="connsiteY1" fmla="*/ 8 h 398912"/>
              <a:gd name="connsiteX2" fmla="*/ 57630 w 654609"/>
              <a:gd name="connsiteY2" fmla="*/ 31304 h 398912"/>
              <a:gd name="connsiteX3" fmla="*/ 87981 w 654609"/>
              <a:gd name="connsiteY3" fmla="*/ 37594 h 398912"/>
              <a:gd name="connsiteX4" fmla="*/ 139268 w 654609"/>
              <a:gd name="connsiteY4" fmla="*/ 42197 h 398912"/>
              <a:gd name="connsiteX5" fmla="*/ 201649 w 654609"/>
              <a:gd name="connsiteY5" fmla="*/ 56856 h 398912"/>
              <a:gd name="connsiteX6" fmla="*/ 288636 w 654609"/>
              <a:gd name="connsiteY6" fmla="*/ 84741 h 398912"/>
              <a:gd name="connsiteX7" fmla="*/ 343260 w 654609"/>
              <a:gd name="connsiteY7" fmla="*/ 100931 h 398912"/>
              <a:gd name="connsiteX8" fmla="*/ 394856 w 654609"/>
              <a:gd name="connsiteY8" fmla="*/ 130295 h 398912"/>
              <a:gd name="connsiteX9" fmla="*/ 448053 w 654609"/>
              <a:gd name="connsiteY9" fmla="*/ 155690 h 398912"/>
              <a:gd name="connsiteX10" fmla="*/ 501254 w 654609"/>
              <a:gd name="connsiteY10" fmla="*/ 192194 h 398912"/>
              <a:gd name="connsiteX11" fmla="*/ 546982 w 654609"/>
              <a:gd name="connsiteY11" fmla="*/ 221404 h 398912"/>
              <a:gd name="connsiteX12" fmla="*/ 585420 w 654609"/>
              <a:gd name="connsiteY12" fmla="*/ 254895 h 398912"/>
              <a:gd name="connsiteX13" fmla="*/ 612282 w 654609"/>
              <a:gd name="connsiteY13" fmla="*/ 274536 h 398912"/>
              <a:gd name="connsiteX14" fmla="*/ 654609 w 654609"/>
              <a:gd name="connsiteY14" fmla="*/ 322974 h 398912"/>
              <a:gd name="connsiteX15" fmla="*/ 581706 w 654609"/>
              <a:gd name="connsiteY15" fmla="*/ 398912 h 398912"/>
              <a:gd name="connsiteX16" fmla="*/ 517167 w 654609"/>
              <a:gd name="connsiteY16" fmla="*/ 334490 h 398912"/>
              <a:gd name="connsiteX17" fmla="*/ 436689 w 654609"/>
              <a:gd name="connsiteY17" fmla="*/ 270042 h 398912"/>
              <a:gd name="connsiteX18" fmla="*/ 380488 w 654609"/>
              <a:gd name="connsiteY18" fmla="*/ 234802 h 398912"/>
              <a:gd name="connsiteX19" fmla="*/ 328100 w 654609"/>
              <a:gd name="connsiteY19" fmla="*/ 208608 h 398912"/>
              <a:gd name="connsiteX20" fmla="*/ 257617 w 654609"/>
              <a:gd name="connsiteY20" fmla="*/ 182095 h 398912"/>
              <a:gd name="connsiteX21" fmla="*/ 193006 w 654609"/>
              <a:gd name="connsiteY21" fmla="*/ 158920 h 398912"/>
              <a:gd name="connsiteX22" fmla="*/ 127598 w 654609"/>
              <a:gd name="connsiteY22" fmla="*/ 146856 h 398912"/>
              <a:gd name="connsiteX23" fmla="*/ 70767 w 654609"/>
              <a:gd name="connsiteY23" fmla="*/ 135906 h 398912"/>
              <a:gd name="connsiteX24" fmla="*/ 1804 w 654609"/>
              <a:gd name="connsiteY24" fmla="*/ 134188 h 398912"/>
              <a:gd name="connsiteX25" fmla="*/ 0 w 654609"/>
              <a:gd name="connsiteY25" fmla="*/ 7653 h 398912"/>
              <a:gd name="connsiteX0" fmla="*/ 0 w 654609"/>
              <a:gd name="connsiteY0" fmla="*/ 0 h 391259"/>
              <a:gd name="connsiteX1" fmla="*/ 37009 w 654609"/>
              <a:gd name="connsiteY1" fmla="*/ 27092 h 391259"/>
              <a:gd name="connsiteX2" fmla="*/ 57630 w 654609"/>
              <a:gd name="connsiteY2" fmla="*/ 23651 h 391259"/>
              <a:gd name="connsiteX3" fmla="*/ 87981 w 654609"/>
              <a:gd name="connsiteY3" fmla="*/ 29941 h 391259"/>
              <a:gd name="connsiteX4" fmla="*/ 139268 w 654609"/>
              <a:gd name="connsiteY4" fmla="*/ 34544 h 391259"/>
              <a:gd name="connsiteX5" fmla="*/ 201649 w 654609"/>
              <a:gd name="connsiteY5" fmla="*/ 49203 h 391259"/>
              <a:gd name="connsiteX6" fmla="*/ 288636 w 654609"/>
              <a:gd name="connsiteY6" fmla="*/ 77088 h 391259"/>
              <a:gd name="connsiteX7" fmla="*/ 343260 w 654609"/>
              <a:gd name="connsiteY7" fmla="*/ 93278 h 391259"/>
              <a:gd name="connsiteX8" fmla="*/ 394856 w 654609"/>
              <a:gd name="connsiteY8" fmla="*/ 122642 h 391259"/>
              <a:gd name="connsiteX9" fmla="*/ 448053 w 654609"/>
              <a:gd name="connsiteY9" fmla="*/ 148037 h 391259"/>
              <a:gd name="connsiteX10" fmla="*/ 501254 w 654609"/>
              <a:gd name="connsiteY10" fmla="*/ 184541 h 391259"/>
              <a:gd name="connsiteX11" fmla="*/ 546982 w 654609"/>
              <a:gd name="connsiteY11" fmla="*/ 213751 h 391259"/>
              <a:gd name="connsiteX12" fmla="*/ 585420 w 654609"/>
              <a:gd name="connsiteY12" fmla="*/ 247242 h 391259"/>
              <a:gd name="connsiteX13" fmla="*/ 612282 w 654609"/>
              <a:gd name="connsiteY13" fmla="*/ 266883 h 391259"/>
              <a:gd name="connsiteX14" fmla="*/ 654609 w 654609"/>
              <a:gd name="connsiteY14" fmla="*/ 315321 h 391259"/>
              <a:gd name="connsiteX15" fmla="*/ 581706 w 654609"/>
              <a:gd name="connsiteY15" fmla="*/ 391259 h 391259"/>
              <a:gd name="connsiteX16" fmla="*/ 517167 w 654609"/>
              <a:gd name="connsiteY16" fmla="*/ 326837 h 391259"/>
              <a:gd name="connsiteX17" fmla="*/ 436689 w 654609"/>
              <a:gd name="connsiteY17" fmla="*/ 262389 h 391259"/>
              <a:gd name="connsiteX18" fmla="*/ 380488 w 654609"/>
              <a:gd name="connsiteY18" fmla="*/ 227149 h 391259"/>
              <a:gd name="connsiteX19" fmla="*/ 328100 w 654609"/>
              <a:gd name="connsiteY19" fmla="*/ 200955 h 391259"/>
              <a:gd name="connsiteX20" fmla="*/ 257617 w 654609"/>
              <a:gd name="connsiteY20" fmla="*/ 174442 h 391259"/>
              <a:gd name="connsiteX21" fmla="*/ 193006 w 654609"/>
              <a:gd name="connsiteY21" fmla="*/ 151267 h 391259"/>
              <a:gd name="connsiteX22" fmla="*/ 127598 w 654609"/>
              <a:gd name="connsiteY22" fmla="*/ 139203 h 391259"/>
              <a:gd name="connsiteX23" fmla="*/ 70767 w 654609"/>
              <a:gd name="connsiteY23" fmla="*/ 128253 h 391259"/>
              <a:gd name="connsiteX24" fmla="*/ 1804 w 654609"/>
              <a:gd name="connsiteY24" fmla="*/ 126535 h 391259"/>
              <a:gd name="connsiteX25" fmla="*/ 0 w 654609"/>
              <a:gd name="connsiteY25" fmla="*/ 0 h 391259"/>
              <a:gd name="connsiteX0" fmla="*/ 0 w 654619"/>
              <a:gd name="connsiteY0" fmla="*/ 0 h 368254"/>
              <a:gd name="connsiteX1" fmla="*/ 37019 w 654619"/>
              <a:gd name="connsiteY1" fmla="*/ 4087 h 368254"/>
              <a:gd name="connsiteX2" fmla="*/ 57640 w 654619"/>
              <a:gd name="connsiteY2" fmla="*/ 646 h 368254"/>
              <a:gd name="connsiteX3" fmla="*/ 87991 w 654619"/>
              <a:gd name="connsiteY3" fmla="*/ 6936 h 368254"/>
              <a:gd name="connsiteX4" fmla="*/ 139278 w 654619"/>
              <a:gd name="connsiteY4" fmla="*/ 11539 h 368254"/>
              <a:gd name="connsiteX5" fmla="*/ 201659 w 654619"/>
              <a:gd name="connsiteY5" fmla="*/ 26198 h 368254"/>
              <a:gd name="connsiteX6" fmla="*/ 288646 w 654619"/>
              <a:gd name="connsiteY6" fmla="*/ 54083 h 368254"/>
              <a:gd name="connsiteX7" fmla="*/ 343270 w 654619"/>
              <a:gd name="connsiteY7" fmla="*/ 70273 h 368254"/>
              <a:gd name="connsiteX8" fmla="*/ 394866 w 654619"/>
              <a:gd name="connsiteY8" fmla="*/ 99637 h 368254"/>
              <a:gd name="connsiteX9" fmla="*/ 448063 w 654619"/>
              <a:gd name="connsiteY9" fmla="*/ 125032 h 368254"/>
              <a:gd name="connsiteX10" fmla="*/ 501264 w 654619"/>
              <a:gd name="connsiteY10" fmla="*/ 161536 h 368254"/>
              <a:gd name="connsiteX11" fmla="*/ 546992 w 654619"/>
              <a:gd name="connsiteY11" fmla="*/ 190746 h 368254"/>
              <a:gd name="connsiteX12" fmla="*/ 585430 w 654619"/>
              <a:gd name="connsiteY12" fmla="*/ 224237 h 368254"/>
              <a:gd name="connsiteX13" fmla="*/ 612292 w 654619"/>
              <a:gd name="connsiteY13" fmla="*/ 243878 h 368254"/>
              <a:gd name="connsiteX14" fmla="*/ 654619 w 654619"/>
              <a:gd name="connsiteY14" fmla="*/ 292316 h 368254"/>
              <a:gd name="connsiteX15" fmla="*/ 581716 w 654619"/>
              <a:gd name="connsiteY15" fmla="*/ 368254 h 368254"/>
              <a:gd name="connsiteX16" fmla="*/ 517177 w 654619"/>
              <a:gd name="connsiteY16" fmla="*/ 303832 h 368254"/>
              <a:gd name="connsiteX17" fmla="*/ 436699 w 654619"/>
              <a:gd name="connsiteY17" fmla="*/ 239384 h 368254"/>
              <a:gd name="connsiteX18" fmla="*/ 380498 w 654619"/>
              <a:gd name="connsiteY18" fmla="*/ 204144 h 368254"/>
              <a:gd name="connsiteX19" fmla="*/ 328110 w 654619"/>
              <a:gd name="connsiteY19" fmla="*/ 177950 h 368254"/>
              <a:gd name="connsiteX20" fmla="*/ 257627 w 654619"/>
              <a:gd name="connsiteY20" fmla="*/ 151437 h 368254"/>
              <a:gd name="connsiteX21" fmla="*/ 193016 w 654619"/>
              <a:gd name="connsiteY21" fmla="*/ 128262 h 368254"/>
              <a:gd name="connsiteX22" fmla="*/ 127608 w 654619"/>
              <a:gd name="connsiteY22" fmla="*/ 116198 h 368254"/>
              <a:gd name="connsiteX23" fmla="*/ 70777 w 654619"/>
              <a:gd name="connsiteY23" fmla="*/ 105248 h 368254"/>
              <a:gd name="connsiteX24" fmla="*/ 1814 w 654619"/>
              <a:gd name="connsiteY24" fmla="*/ 103530 h 368254"/>
              <a:gd name="connsiteX25" fmla="*/ 0 w 654619"/>
              <a:gd name="connsiteY25" fmla="*/ 0 h 368254"/>
              <a:gd name="connsiteX0" fmla="*/ 0 w 654938"/>
              <a:gd name="connsiteY0" fmla="*/ 3162 h 367608"/>
              <a:gd name="connsiteX1" fmla="*/ 37338 w 654938"/>
              <a:gd name="connsiteY1" fmla="*/ 3441 h 367608"/>
              <a:gd name="connsiteX2" fmla="*/ 57959 w 654938"/>
              <a:gd name="connsiteY2" fmla="*/ 0 h 367608"/>
              <a:gd name="connsiteX3" fmla="*/ 88310 w 654938"/>
              <a:gd name="connsiteY3" fmla="*/ 6290 h 367608"/>
              <a:gd name="connsiteX4" fmla="*/ 139597 w 654938"/>
              <a:gd name="connsiteY4" fmla="*/ 10893 h 367608"/>
              <a:gd name="connsiteX5" fmla="*/ 201978 w 654938"/>
              <a:gd name="connsiteY5" fmla="*/ 25552 h 367608"/>
              <a:gd name="connsiteX6" fmla="*/ 288965 w 654938"/>
              <a:gd name="connsiteY6" fmla="*/ 53437 h 367608"/>
              <a:gd name="connsiteX7" fmla="*/ 343589 w 654938"/>
              <a:gd name="connsiteY7" fmla="*/ 69627 h 367608"/>
              <a:gd name="connsiteX8" fmla="*/ 395185 w 654938"/>
              <a:gd name="connsiteY8" fmla="*/ 98991 h 367608"/>
              <a:gd name="connsiteX9" fmla="*/ 448382 w 654938"/>
              <a:gd name="connsiteY9" fmla="*/ 124386 h 367608"/>
              <a:gd name="connsiteX10" fmla="*/ 501583 w 654938"/>
              <a:gd name="connsiteY10" fmla="*/ 160890 h 367608"/>
              <a:gd name="connsiteX11" fmla="*/ 547311 w 654938"/>
              <a:gd name="connsiteY11" fmla="*/ 190100 h 367608"/>
              <a:gd name="connsiteX12" fmla="*/ 585749 w 654938"/>
              <a:gd name="connsiteY12" fmla="*/ 223591 h 367608"/>
              <a:gd name="connsiteX13" fmla="*/ 612611 w 654938"/>
              <a:gd name="connsiteY13" fmla="*/ 243232 h 367608"/>
              <a:gd name="connsiteX14" fmla="*/ 654938 w 654938"/>
              <a:gd name="connsiteY14" fmla="*/ 291670 h 367608"/>
              <a:gd name="connsiteX15" fmla="*/ 582035 w 654938"/>
              <a:gd name="connsiteY15" fmla="*/ 367608 h 367608"/>
              <a:gd name="connsiteX16" fmla="*/ 517496 w 654938"/>
              <a:gd name="connsiteY16" fmla="*/ 303186 h 367608"/>
              <a:gd name="connsiteX17" fmla="*/ 437018 w 654938"/>
              <a:gd name="connsiteY17" fmla="*/ 238738 h 367608"/>
              <a:gd name="connsiteX18" fmla="*/ 380817 w 654938"/>
              <a:gd name="connsiteY18" fmla="*/ 203498 h 367608"/>
              <a:gd name="connsiteX19" fmla="*/ 328429 w 654938"/>
              <a:gd name="connsiteY19" fmla="*/ 177304 h 367608"/>
              <a:gd name="connsiteX20" fmla="*/ 257946 w 654938"/>
              <a:gd name="connsiteY20" fmla="*/ 150791 h 367608"/>
              <a:gd name="connsiteX21" fmla="*/ 193335 w 654938"/>
              <a:gd name="connsiteY21" fmla="*/ 127616 h 367608"/>
              <a:gd name="connsiteX22" fmla="*/ 127927 w 654938"/>
              <a:gd name="connsiteY22" fmla="*/ 115552 h 367608"/>
              <a:gd name="connsiteX23" fmla="*/ 71096 w 654938"/>
              <a:gd name="connsiteY23" fmla="*/ 104602 h 367608"/>
              <a:gd name="connsiteX24" fmla="*/ 2133 w 654938"/>
              <a:gd name="connsiteY24" fmla="*/ 102884 h 367608"/>
              <a:gd name="connsiteX25" fmla="*/ 0 w 654938"/>
              <a:gd name="connsiteY25" fmla="*/ 3162 h 367608"/>
              <a:gd name="connsiteX0" fmla="*/ 0 w 654938"/>
              <a:gd name="connsiteY0" fmla="*/ 3162 h 367608"/>
              <a:gd name="connsiteX1" fmla="*/ 43049 w 654938"/>
              <a:gd name="connsiteY1" fmla="*/ 3920 h 367608"/>
              <a:gd name="connsiteX2" fmla="*/ 57959 w 654938"/>
              <a:gd name="connsiteY2" fmla="*/ 0 h 367608"/>
              <a:gd name="connsiteX3" fmla="*/ 88310 w 654938"/>
              <a:gd name="connsiteY3" fmla="*/ 6290 h 367608"/>
              <a:gd name="connsiteX4" fmla="*/ 139597 w 654938"/>
              <a:gd name="connsiteY4" fmla="*/ 10893 h 367608"/>
              <a:gd name="connsiteX5" fmla="*/ 201978 w 654938"/>
              <a:gd name="connsiteY5" fmla="*/ 25552 h 367608"/>
              <a:gd name="connsiteX6" fmla="*/ 288965 w 654938"/>
              <a:gd name="connsiteY6" fmla="*/ 53437 h 367608"/>
              <a:gd name="connsiteX7" fmla="*/ 343589 w 654938"/>
              <a:gd name="connsiteY7" fmla="*/ 69627 h 367608"/>
              <a:gd name="connsiteX8" fmla="*/ 395185 w 654938"/>
              <a:gd name="connsiteY8" fmla="*/ 98991 h 367608"/>
              <a:gd name="connsiteX9" fmla="*/ 448382 w 654938"/>
              <a:gd name="connsiteY9" fmla="*/ 124386 h 367608"/>
              <a:gd name="connsiteX10" fmla="*/ 501583 w 654938"/>
              <a:gd name="connsiteY10" fmla="*/ 160890 h 367608"/>
              <a:gd name="connsiteX11" fmla="*/ 547311 w 654938"/>
              <a:gd name="connsiteY11" fmla="*/ 190100 h 367608"/>
              <a:gd name="connsiteX12" fmla="*/ 585749 w 654938"/>
              <a:gd name="connsiteY12" fmla="*/ 223591 h 367608"/>
              <a:gd name="connsiteX13" fmla="*/ 612611 w 654938"/>
              <a:gd name="connsiteY13" fmla="*/ 243232 h 367608"/>
              <a:gd name="connsiteX14" fmla="*/ 654938 w 654938"/>
              <a:gd name="connsiteY14" fmla="*/ 291670 h 367608"/>
              <a:gd name="connsiteX15" fmla="*/ 582035 w 654938"/>
              <a:gd name="connsiteY15" fmla="*/ 367608 h 367608"/>
              <a:gd name="connsiteX16" fmla="*/ 517496 w 654938"/>
              <a:gd name="connsiteY16" fmla="*/ 303186 h 367608"/>
              <a:gd name="connsiteX17" fmla="*/ 437018 w 654938"/>
              <a:gd name="connsiteY17" fmla="*/ 238738 h 367608"/>
              <a:gd name="connsiteX18" fmla="*/ 380817 w 654938"/>
              <a:gd name="connsiteY18" fmla="*/ 203498 h 367608"/>
              <a:gd name="connsiteX19" fmla="*/ 328429 w 654938"/>
              <a:gd name="connsiteY19" fmla="*/ 177304 h 367608"/>
              <a:gd name="connsiteX20" fmla="*/ 257946 w 654938"/>
              <a:gd name="connsiteY20" fmla="*/ 150791 h 367608"/>
              <a:gd name="connsiteX21" fmla="*/ 193335 w 654938"/>
              <a:gd name="connsiteY21" fmla="*/ 127616 h 367608"/>
              <a:gd name="connsiteX22" fmla="*/ 127927 w 654938"/>
              <a:gd name="connsiteY22" fmla="*/ 115552 h 367608"/>
              <a:gd name="connsiteX23" fmla="*/ 71096 w 654938"/>
              <a:gd name="connsiteY23" fmla="*/ 104602 h 367608"/>
              <a:gd name="connsiteX24" fmla="*/ 2133 w 654938"/>
              <a:gd name="connsiteY24" fmla="*/ 102884 h 367608"/>
              <a:gd name="connsiteX25" fmla="*/ 0 w 654938"/>
              <a:gd name="connsiteY25" fmla="*/ 3162 h 367608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88310 w 654938"/>
              <a:gd name="connsiteY3" fmla="*/ 3428 h 364746"/>
              <a:gd name="connsiteX4" fmla="*/ 139597 w 654938"/>
              <a:gd name="connsiteY4" fmla="*/ 8031 h 364746"/>
              <a:gd name="connsiteX5" fmla="*/ 201978 w 654938"/>
              <a:gd name="connsiteY5" fmla="*/ 22690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39597 w 654938"/>
              <a:gd name="connsiteY4" fmla="*/ 8031 h 364746"/>
              <a:gd name="connsiteX5" fmla="*/ 201978 w 654938"/>
              <a:gd name="connsiteY5" fmla="*/ 22690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01978 w 654938"/>
              <a:gd name="connsiteY5" fmla="*/ 22690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53934 w 654938"/>
              <a:gd name="connsiteY9" fmla="*/ 123906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53934 w 654938"/>
              <a:gd name="connsiteY9" fmla="*/ 123906 h 364746"/>
              <a:gd name="connsiteX10" fmla="*/ 505232 w 654938"/>
              <a:gd name="connsiteY10" fmla="*/ 160250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20378 w 654938"/>
              <a:gd name="connsiteY5" fmla="*/ 31900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53934 w 654938"/>
              <a:gd name="connsiteY9" fmla="*/ 123906 h 364746"/>
              <a:gd name="connsiteX10" fmla="*/ 505232 w 654938"/>
              <a:gd name="connsiteY10" fmla="*/ 160250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0 h 364446"/>
              <a:gd name="connsiteX1" fmla="*/ 43049 w 654938"/>
              <a:gd name="connsiteY1" fmla="*/ 758 h 364446"/>
              <a:gd name="connsiteX2" fmla="*/ 68902 w 654938"/>
              <a:gd name="connsiteY2" fmla="*/ 3507 h 364446"/>
              <a:gd name="connsiteX3" fmla="*/ 97828 w 654938"/>
              <a:gd name="connsiteY3" fmla="*/ 3924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581 w 654938"/>
              <a:gd name="connsiteY6" fmla="*/ 50913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97828 w 654938"/>
              <a:gd name="connsiteY3" fmla="*/ 3924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581 w 654938"/>
              <a:gd name="connsiteY6" fmla="*/ 50913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581 w 654938"/>
              <a:gd name="connsiteY6" fmla="*/ 50913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5248 w 654938"/>
              <a:gd name="connsiteY11" fmla="*/ 188681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5248 w 654938"/>
              <a:gd name="connsiteY11" fmla="*/ 188681 h 364446"/>
              <a:gd name="connsiteX12" fmla="*/ 581623 w 654938"/>
              <a:gd name="connsiteY12" fmla="*/ 223918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5248 w 654938"/>
              <a:gd name="connsiteY11" fmla="*/ 188681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49489 w 654938"/>
              <a:gd name="connsiteY9" fmla="*/ 130902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060 w 654938"/>
              <a:gd name="connsiteY5" fmla="*/ 35407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49489 w 654938"/>
              <a:gd name="connsiteY9" fmla="*/ 130902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1966 w 654938"/>
              <a:gd name="connsiteY4" fmla="*/ 20269 h 364446"/>
              <a:gd name="connsiteX5" fmla="*/ 220060 w 654938"/>
              <a:gd name="connsiteY5" fmla="*/ 35407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49489 w 654938"/>
              <a:gd name="connsiteY9" fmla="*/ 130902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80165 w 654938"/>
              <a:gd name="connsiteY3" fmla="*/ 6366 h 364446"/>
              <a:gd name="connsiteX4" fmla="*/ 110675 w 654938"/>
              <a:gd name="connsiteY4" fmla="*/ 10751 h 364446"/>
              <a:gd name="connsiteX5" fmla="*/ 151966 w 654938"/>
              <a:gd name="connsiteY5" fmla="*/ 20269 h 364446"/>
              <a:gd name="connsiteX6" fmla="*/ 220060 w 654938"/>
              <a:gd name="connsiteY6" fmla="*/ 35407 h 364446"/>
              <a:gd name="connsiteX7" fmla="*/ 296102 w 654938"/>
              <a:gd name="connsiteY7" fmla="*/ 56625 h 364446"/>
              <a:gd name="connsiteX8" fmla="*/ 346441 w 654938"/>
              <a:gd name="connsiteY8" fmla="*/ 78206 h 364446"/>
              <a:gd name="connsiteX9" fmla="*/ 398514 w 654938"/>
              <a:gd name="connsiteY9" fmla="*/ 101857 h 364446"/>
              <a:gd name="connsiteX10" fmla="*/ 449489 w 654938"/>
              <a:gd name="connsiteY10" fmla="*/ 130902 h 364446"/>
              <a:gd name="connsiteX11" fmla="*/ 506656 w 654938"/>
              <a:gd name="connsiteY11" fmla="*/ 165821 h 364446"/>
              <a:gd name="connsiteX12" fmla="*/ 541281 w 654938"/>
              <a:gd name="connsiteY12" fmla="*/ 190266 h 364446"/>
              <a:gd name="connsiteX13" fmla="*/ 581623 w 654938"/>
              <a:gd name="connsiteY13" fmla="*/ 223918 h 364446"/>
              <a:gd name="connsiteX14" fmla="*/ 621013 w 654938"/>
              <a:gd name="connsiteY14" fmla="*/ 254193 h 364446"/>
              <a:gd name="connsiteX15" fmla="*/ 654938 w 654938"/>
              <a:gd name="connsiteY15" fmla="*/ 288508 h 364446"/>
              <a:gd name="connsiteX16" fmla="*/ 582035 w 654938"/>
              <a:gd name="connsiteY16" fmla="*/ 364446 h 364446"/>
              <a:gd name="connsiteX17" fmla="*/ 517496 w 654938"/>
              <a:gd name="connsiteY17" fmla="*/ 300024 h 364446"/>
              <a:gd name="connsiteX18" fmla="*/ 437018 w 654938"/>
              <a:gd name="connsiteY18" fmla="*/ 235576 h 364446"/>
              <a:gd name="connsiteX19" fmla="*/ 380817 w 654938"/>
              <a:gd name="connsiteY19" fmla="*/ 200336 h 364446"/>
              <a:gd name="connsiteX20" fmla="*/ 328429 w 654938"/>
              <a:gd name="connsiteY20" fmla="*/ 174142 h 364446"/>
              <a:gd name="connsiteX21" fmla="*/ 257946 w 654938"/>
              <a:gd name="connsiteY21" fmla="*/ 147629 h 364446"/>
              <a:gd name="connsiteX22" fmla="*/ 193335 w 654938"/>
              <a:gd name="connsiteY22" fmla="*/ 124454 h 364446"/>
              <a:gd name="connsiteX23" fmla="*/ 127927 w 654938"/>
              <a:gd name="connsiteY23" fmla="*/ 112390 h 364446"/>
              <a:gd name="connsiteX24" fmla="*/ 71096 w 654938"/>
              <a:gd name="connsiteY24" fmla="*/ 101440 h 364446"/>
              <a:gd name="connsiteX25" fmla="*/ 2133 w 654938"/>
              <a:gd name="connsiteY25" fmla="*/ 99722 h 364446"/>
              <a:gd name="connsiteX26" fmla="*/ 0 w 654938"/>
              <a:gd name="connsiteY26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6 h 364446"/>
              <a:gd name="connsiteX3" fmla="*/ 80165 w 654938"/>
              <a:gd name="connsiteY3" fmla="*/ 6366 h 364446"/>
              <a:gd name="connsiteX4" fmla="*/ 110675 w 654938"/>
              <a:gd name="connsiteY4" fmla="*/ 10751 h 364446"/>
              <a:gd name="connsiteX5" fmla="*/ 151966 w 654938"/>
              <a:gd name="connsiteY5" fmla="*/ 20269 h 364446"/>
              <a:gd name="connsiteX6" fmla="*/ 220060 w 654938"/>
              <a:gd name="connsiteY6" fmla="*/ 35407 h 364446"/>
              <a:gd name="connsiteX7" fmla="*/ 296102 w 654938"/>
              <a:gd name="connsiteY7" fmla="*/ 56625 h 364446"/>
              <a:gd name="connsiteX8" fmla="*/ 346441 w 654938"/>
              <a:gd name="connsiteY8" fmla="*/ 78206 h 364446"/>
              <a:gd name="connsiteX9" fmla="*/ 398514 w 654938"/>
              <a:gd name="connsiteY9" fmla="*/ 101857 h 364446"/>
              <a:gd name="connsiteX10" fmla="*/ 449489 w 654938"/>
              <a:gd name="connsiteY10" fmla="*/ 130902 h 364446"/>
              <a:gd name="connsiteX11" fmla="*/ 506656 w 654938"/>
              <a:gd name="connsiteY11" fmla="*/ 165821 h 364446"/>
              <a:gd name="connsiteX12" fmla="*/ 541281 w 654938"/>
              <a:gd name="connsiteY12" fmla="*/ 190266 h 364446"/>
              <a:gd name="connsiteX13" fmla="*/ 581623 w 654938"/>
              <a:gd name="connsiteY13" fmla="*/ 223918 h 364446"/>
              <a:gd name="connsiteX14" fmla="*/ 621013 w 654938"/>
              <a:gd name="connsiteY14" fmla="*/ 254193 h 364446"/>
              <a:gd name="connsiteX15" fmla="*/ 654938 w 654938"/>
              <a:gd name="connsiteY15" fmla="*/ 288508 h 364446"/>
              <a:gd name="connsiteX16" fmla="*/ 582035 w 654938"/>
              <a:gd name="connsiteY16" fmla="*/ 364446 h 364446"/>
              <a:gd name="connsiteX17" fmla="*/ 517496 w 654938"/>
              <a:gd name="connsiteY17" fmla="*/ 300024 h 364446"/>
              <a:gd name="connsiteX18" fmla="*/ 437018 w 654938"/>
              <a:gd name="connsiteY18" fmla="*/ 235576 h 364446"/>
              <a:gd name="connsiteX19" fmla="*/ 380817 w 654938"/>
              <a:gd name="connsiteY19" fmla="*/ 200336 h 364446"/>
              <a:gd name="connsiteX20" fmla="*/ 328429 w 654938"/>
              <a:gd name="connsiteY20" fmla="*/ 174142 h 364446"/>
              <a:gd name="connsiteX21" fmla="*/ 257946 w 654938"/>
              <a:gd name="connsiteY21" fmla="*/ 147629 h 364446"/>
              <a:gd name="connsiteX22" fmla="*/ 193335 w 654938"/>
              <a:gd name="connsiteY22" fmla="*/ 124454 h 364446"/>
              <a:gd name="connsiteX23" fmla="*/ 127927 w 654938"/>
              <a:gd name="connsiteY23" fmla="*/ 112390 h 364446"/>
              <a:gd name="connsiteX24" fmla="*/ 71096 w 654938"/>
              <a:gd name="connsiteY24" fmla="*/ 101440 h 364446"/>
              <a:gd name="connsiteX25" fmla="*/ 2133 w 654938"/>
              <a:gd name="connsiteY25" fmla="*/ 99722 h 364446"/>
              <a:gd name="connsiteX26" fmla="*/ 0 w 654938"/>
              <a:gd name="connsiteY26" fmla="*/ 0 h 364446"/>
              <a:gd name="connsiteX0" fmla="*/ 0 w 654938"/>
              <a:gd name="connsiteY0" fmla="*/ 0 h 364446"/>
              <a:gd name="connsiteX1" fmla="*/ 38764 w 654938"/>
              <a:gd name="connsiteY1" fmla="*/ 6151 h 364446"/>
              <a:gd name="connsiteX2" fmla="*/ 68902 w 654938"/>
              <a:gd name="connsiteY2" fmla="*/ 3506 h 364446"/>
              <a:gd name="connsiteX3" fmla="*/ 80165 w 654938"/>
              <a:gd name="connsiteY3" fmla="*/ 6366 h 364446"/>
              <a:gd name="connsiteX4" fmla="*/ 110675 w 654938"/>
              <a:gd name="connsiteY4" fmla="*/ 10751 h 364446"/>
              <a:gd name="connsiteX5" fmla="*/ 151966 w 654938"/>
              <a:gd name="connsiteY5" fmla="*/ 20269 h 364446"/>
              <a:gd name="connsiteX6" fmla="*/ 220060 w 654938"/>
              <a:gd name="connsiteY6" fmla="*/ 35407 h 364446"/>
              <a:gd name="connsiteX7" fmla="*/ 296102 w 654938"/>
              <a:gd name="connsiteY7" fmla="*/ 56625 h 364446"/>
              <a:gd name="connsiteX8" fmla="*/ 346441 w 654938"/>
              <a:gd name="connsiteY8" fmla="*/ 78206 h 364446"/>
              <a:gd name="connsiteX9" fmla="*/ 398514 w 654938"/>
              <a:gd name="connsiteY9" fmla="*/ 101857 h 364446"/>
              <a:gd name="connsiteX10" fmla="*/ 449489 w 654938"/>
              <a:gd name="connsiteY10" fmla="*/ 130902 h 364446"/>
              <a:gd name="connsiteX11" fmla="*/ 506656 w 654938"/>
              <a:gd name="connsiteY11" fmla="*/ 165821 h 364446"/>
              <a:gd name="connsiteX12" fmla="*/ 541281 w 654938"/>
              <a:gd name="connsiteY12" fmla="*/ 190266 h 364446"/>
              <a:gd name="connsiteX13" fmla="*/ 581623 w 654938"/>
              <a:gd name="connsiteY13" fmla="*/ 223918 h 364446"/>
              <a:gd name="connsiteX14" fmla="*/ 621013 w 654938"/>
              <a:gd name="connsiteY14" fmla="*/ 254193 h 364446"/>
              <a:gd name="connsiteX15" fmla="*/ 654938 w 654938"/>
              <a:gd name="connsiteY15" fmla="*/ 288508 h 364446"/>
              <a:gd name="connsiteX16" fmla="*/ 582035 w 654938"/>
              <a:gd name="connsiteY16" fmla="*/ 364446 h 364446"/>
              <a:gd name="connsiteX17" fmla="*/ 517496 w 654938"/>
              <a:gd name="connsiteY17" fmla="*/ 300024 h 364446"/>
              <a:gd name="connsiteX18" fmla="*/ 437018 w 654938"/>
              <a:gd name="connsiteY18" fmla="*/ 235576 h 364446"/>
              <a:gd name="connsiteX19" fmla="*/ 380817 w 654938"/>
              <a:gd name="connsiteY19" fmla="*/ 200336 h 364446"/>
              <a:gd name="connsiteX20" fmla="*/ 328429 w 654938"/>
              <a:gd name="connsiteY20" fmla="*/ 174142 h 364446"/>
              <a:gd name="connsiteX21" fmla="*/ 257946 w 654938"/>
              <a:gd name="connsiteY21" fmla="*/ 147629 h 364446"/>
              <a:gd name="connsiteX22" fmla="*/ 193335 w 654938"/>
              <a:gd name="connsiteY22" fmla="*/ 124454 h 364446"/>
              <a:gd name="connsiteX23" fmla="*/ 127927 w 654938"/>
              <a:gd name="connsiteY23" fmla="*/ 112390 h 364446"/>
              <a:gd name="connsiteX24" fmla="*/ 71096 w 654938"/>
              <a:gd name="connsiteY24" fmla="*/ 101440 h 364446"/>
              <a:gd name="connsiteX25" fmla="*/ 2133 w 654938"/>
              <a:gd name="connsiteY25" fmla="*/ 99722 h 364446"/>
              <a:gd name="connsiteX26" fmla="*/ 0 w 654938"/>
              <a:gd name="connsiteY26" fmla="*/ 0 h 364446"/>
              <a:gd name="connsiteX0" fmla="*/ 0 w 655257"/>
              <a:gd name="connsiteY0" fmla="*/ 323 h 360961"/>
              <a:gd name="connsiteX1" fmla="*/ 39083 w 655257"/>
              <a:gd name="connsiteY1" fmla="*/ 2666 h 360961"/>
              <a:gd name="connsiteX2" fmla="*/ 69221 w 655257"/>
              <a:gd name="connsiteY2" fmla="*/ 21 h 360961"/>
              <a:gd name="connsiteX3" fmla="*/ 80484 w 655257"/>
              <a:gd name="connsiteY3" fmla="*/ 2881 h 360961"/>
              <a:gd name="connsiteX4" fmla="*/ 110994 w 655257"/>
              <a:gd name="connsiteY4" fmla="*/ 7266 h 360961"/>
              <a:gd name="connsiteX5" fmla="*/ 152285 w 655257"/>
              <a:gd name="connsiteY5" fmla="*/ 16784 h 360961"/>
              <a:gd name="connsiteX6" fmla="*/ 220379 w 655257"/>
              <a:gd name="connsiteY6" fmla="*/ 31922 h 360961"/>
              <a:gd name="connsiteX7" fmla="*/ 296421 w 655257"/>
              <a:gd name="connsiteY7" fmla="*/ 53140 h 360961"/>
              <a:gd name="connsiteX8" fmla="*/ 346760 w 655257"/>
              <a:gd name="connsiteY8" fmla="*/ 74721 h 360961"/>
              <a:gd name="connsiteX9" fmla="*/ 398833 w 655257"/>
              <a:gd name="connsiteY9" fmla="*/ 98372 h 360961"/>
              <a:gd name="connsiteX10" fmla="*/ 449808 w 655257"/>
              <a:gd name="connsiteY10" fmla="*/ 127417 h 360961"/>
              <a:gd name="connsiteX11" fmla="*/ 506975 w 655257"/>
              <a:gd name="connsiteY11" fmla="*/ 162336 h 360961"/>
              <a:gd name="connsiteX12" fmla="*/ 541600 w 655257"/>
              <a:gd name="connsiteY12" fmla="*/ 186781 h 360961"/>
              <a:gd name="connsiteX13" fmla="*/ 581942 w 655257"/>
              <a:gd name="connsiteY13" fmla="*/ 220433 h 360961"/>
              <a:gd name="connsiteX14" fmla="*/ 621332 w 655257"/>
              <a:gd name="connsiteY14" fmla="*/ 250708 h 360961"/>
              <a:gd name="connsiteX15" fmla="*/ 655257 w 655257"/>
              <a:gd name="connsiteY15" fmla="*/ 285023 h 360961"/>
              <a:gd name="connsiteX16" fmla="*/ 582354 w 655257"/>
              <a:gd name="connsiteY16" fmla="*/ 360961 h 360961"/>
              <a:gd name="connsiteX17" fmla="*/ 517815 w 655257"/>
              <a:gd name="connsiteY17" fmla="*/ 296539 h 360961"/>
              <a:gd name="connsiteX18" fmla="*/ 437337 w 655257"/>
              <a:gd name="connsiteY18" fmla="*/ 232091 h 360961"/>
              <a:gd name="connsiteX19" fmla="*/ 381136 w 655257"/>
              <a:gd name="connsiteY19" fmla="*/ 196851 h 360961"/>
              <a:gd name="connsiteX20" fmla="*/ 328748 w 655257"/>
              <a:gd name="connsiteY20" fmla="*/ 170657 h 360961"/>
              <a:gd name="connsiteX21" fmla="*/ 258265 w 655257"/>
              <a:gd name="connsiteY21" fmla="*/ 144144 h 360961"/>
              <a:gd name="connsiteX22" fmla="*/ 193654 w 655257"/>
              <a:gd name="connsiteY22" fmla="*/ 120969 h 360961"/>
              <a:gd name="connsiteX23" fmla="*/ 128246 w 655257"/>
              <a:gd name="connsiteY23" fmla="*/ 108905 h 360961"/>
              <a:gd name="connsiteX24" fmla="*/ 71415 w 655257"/>
              <a:gd name="connsiteY24" fmla="*/ 97955 h 360961"/>
              <a:gd name="connsiteX25" fmla="*/ 2452 w 655257"/>
              <a:gd name="connsiteY25" fmla="*/ 96237 h 360961"/>
              <a:gd name="connsiteX26" fmla="*/ 0 w 655257"/>
              <a:gd name="connsiteY26" fmla="*/ 323 h 360961"/>
              <a:gd name="connsiteX0" fmla="*/ 0 w 655257"/>
              <a:gd name="connsiteY0" fmla="*/ 0 h 360638"/>
              <a:gd name="connsiteX1" fmla="*/ 39083 w 655257"/>
              <a:gd name="connsiteY1" fmla="*/ 2343 h 360638"/>
              <a:gd name="connsiteX2" fmla="*/ 80484 w 655257"/>
              <a:gd name="connsiteY2" fmla="*/ 2558 h 360638"/>
              <a:gd name="connsiteX3" fmla="*/ 110994 w 655257"/>
              <a:gd name="connsiteY3" fmla="*/ 6943 h 360638"/>
              <a:gd name="connsiteX4" fmla="*/ 152285 w 655257"/>
              <a:gd name="connsiteY4" fmla="*/ 16461 h 360638"/>
              <a:gd name="connsiteX5" fmla="*/ 220379 w 655257"/>
              <a:gd name="connsiteY5" fmla="*/ 31599 h 360638"/>
              <a:gd name="connsiteX6" fmla="*/ 296421 w 655257"/>
              <a:gd name="connsiteY6" fmla="*/ 52817 h 360638"/>
              <a:gd name="connsiteX7" fmla="*/ 346760 w 655257"/>
              <a:gd name="connsiteY7" fmla="*/ 74398 h 360638"/>
              <a:gd name="connsiteX8" fmla="*/ 398833 w 655257"/>
              <a:gd name="connsiteY8" fmla="*/ 98049 h 360638"/>
              <a:gd name="connsiteX9" fmla="*/ 449808 w 655257"/>
              <a:gd name="connsiteY9" fmla="*/ 127094 h 360638"/>
              <a:gd name="connsiteX10" fmla="*/ 506975 w 655257"/>
              <a:gd name="connsiteY10" fmla="*/ 162013 h 360638"/>
              <a:gd name="connsiteX11" fmla="*/ 541600 w 655257"/>
              <a:gd name="connsiteY11" fmla="*/ 186458 h 360638"/>
              <a:gd name="connsiteX12" fmla="*/ 581942 w 655257"/>
              <a:gd name="connsiteY12" fmla="*/ 220110 h 360638"/>
              <a:gd name="connsiteX13" fmla="*/ 621332 w 655257"/>
              <a:gd name="connsiteY13" fmla="*/ 250385 h 360638"/>
              <a:gd name="connsiteX14" fmla="*/ 655257 w 655257"/>
              <a:gd name="connsiteY14" fmla="*/ 284700 h 360638"/>
              <a:gd name="connsiteX15" fmla="*/ 582354 w 655257"/>
              <a:gd name="connsiteY15" fmla="*/ 360638 h 360638"/>
              <a:gd name="connsiteX16" fmla="*/ 517815 w 655257"/>
              <a:gd name="connsiteY16" fmla="*/ 296216 h 360638"/>
              <a:gd name="connsiteX17" fmla="*/ 437337 w 655257"/>
              <a:gd name="connsiteY17" fmla="*/ 231768 h 360638"/>
              <a:gd name="connsiteX18" fmla="*/ 381136 w 655257"/>
              <a:gd name="connsiteY18" fmla="*/ 196528 h 360638"/>
              <a:gd name="connsiteX19" fmla="*/ 328748 w 655257"/>
              <a:gd name="connsiteY19" fmla="*/ 170334 h 360638"/>
              <a:gd name="connsiteX20" fmla="*/ 258265 w 655257"/>
              <a:gd name="connsiteY20" fmla="*/ 143821 h 360638"/>
              <a:gd name="connsiteX21" fmla="*/ 193654 w 655257"/>
              <a:gd name="connsiteY21" fmla="*/ 120646 h 360638"/>
              <a:gd name="connsiteX22" fmla="*/ 128246 w 655257"/>
              <a:gd name="connsiteY22" fmla="*/ 108582 h 360638"/>
              <a:gd name="connsiteX23" fmla="*/ 71415 w 655257"/>
              <a:gd name="connsiteY23" fmla="*/ 97632 h 360638"/>
              <a:gd name="connsiteX24" fmla="*/ 2452 w 655257"/>
              <a:gd name="connsiteY24" fmla="*/ 95914 h 360638"/>
              <a:gd name="connsiteX25" fmla="*/ 0 w 655257"/>
              <a:gd name="connsiteY25" fmla="*/ 0 h 360638"/>
              <a:gd name="connsiteX0" fmla="*/ 0 w 655257"/>
              <a:gd name="connsiteY0" fmla="*/ 0 h 360638"/>
              <a:gd name="connsiteX1" fmla="*/ 39083 w 655257"/>
              <a:gd name="connsiteY1" fmla="*/ 2343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54472 w 655257"/>
              <a:gd name="connsiteY1" fmla="*/ 1715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54472 w 655257"/>
              <a:gd name="connsiteY1" fmla="*/ 1715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62088 w 655257"/>
              <a:gd name="connsiteY1" fmla="*/ 2353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62088 w 655257"/>
              <a:gd name="connsiteY1" fmla="*/ 2353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173 w 655257"/>
              <a:gd name="connsiteY12" fmla="*/ 252289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52996"/>
              <a:gd name="connsiteX1" fmla="*/ 62088 w 655257"/>
              <a:gd name="connsiteY1" fmla="*/ 2353 h 352996"/>
              <a:gd name="connsiteX2" fmla="*/ 110994 w 655257"/>
              <a:gd name="connsiteY2" fmla="*/ 6943 h 352996"/>
              <a:gd name="connsiteX3" fmla="*/ 152285 w 655257"/>
              <a:gd name="connsiteY3" fmla="*/ 16461 h 352996"/>
              <a:gd name="connsiteX4" fmla="*/ 220379 w 655257"/>
              <a:gd name="connsiteY4" fmla="*/ 31599 h 352996"/>
              <a:gd name="connsiteX5" fmla="*/ 296421 w 655257"/>
              <a:gd name="connsiteY5" fmla="*/ 52817 h 352996"/>
              <a:gd name="connsiteX6" fmla="*/ 346760 w 655257"/>
              <a:gd name="connsiteY6" fmla="*/ 74398 h 352996"/>
              <a:gd name="connsiteX7" fmla="*/ 398833 w 655257"/>
              <a:gd name="connsiteY7" fmla="*/ 98049 h 352996"/>
              <a:gd name="connsiteX8" fmla="*/ 449808 w 655257"/>
              <a:gd name="connsiteY8" fmla="*/ 127094 h 352996"/>
              <a:gd name="connsiteX9" fmla="*/ 506975 w 655257"/>
              <a:gd name="connsiteY9" fmla="*/ 162013 h 352996"/>
              <a:gd name="connsiteX10" fmla="*/ 541600 w 655257"/>
              <a:gd name="connsiteY10" fmla="*/ 186458 h 352996"/>
              <a:gd name="connsiteX11" fmla="*/ 581942 w 655257"/>
              <a:gd name="connsiteY11" fmla="*/ 220110 h 352996"/>
              <a:gd name="connsiteX12" fmla="*/ 621173 w 655257"/>
              <a:gd name="connsiteY12" fmla="*/ 252289 h 352996"/>
              <a:gd name="connsiteX13" fmla="*/ 655257 w 655257"/>
              <a:gd name="connsiteY13" fmla="*/ 284700 h 352996"/>
              <a:gd name="connsiteX14" fmla="*/ 589996 w 655257"/>
              <a:gd name="connsiteY14" fmla="*/ 352996 h 352996"/>
              <a:gd name="connsiteX15" fmla="*/ 517815 w 655257"/>
              <a:gd name="connsiteY15" fmla="*/ 296216 h 352996"/>
              <a:gd name="connsiteX16" fmla="*/ 437337 w 655257"/>
              <a:gd name="connsiteY16" fmla="*/ 231768 h 352996"/>
              <a:gd name="connsiteX17" fmla="*/ 381136 w 655257"/>
              <a:gd name="connsiteY17" fmla="*/ 196528 h 352996"/>
              <a:gd name="connsiteX18" fmla="*/ 328748 w 655257"/>
              <a:gd name="connsiteY18" fmla="*/ 170334 h 352996"/>
              <a:gd name="connsiteX19" fmla="*/ 258265 w 655257"/>
              <a:gd name="connsiteY19" fmla="*/ 143821 h 352996"/>
              <a:gd name="connsiteX20" fmla="*/ 193654 w 655257"/>
              <a:gd name="connsiteY20" fmla="*/ 120646 h 352996"/>
              <a:gd name="connsiteX21" fmla="*/ 128246 w 655257"/>
              <a:gd name="connsiteY21" fmla="*/ 108582 h 352996"/>
              <a:gd name="connsiteX22" fmla="*/ 71415 w 655257"/>
              <a:gd name="connsiteY22" fmla="*/ 97632 h 352996"/>
              <a:gd name="connsiteX23" fmla="*/ 2452 w 655257"/>
              <a:gd name="connsiteY23" fmla="*/ 95914 h 352996"/>
              <a:gd name="connsiteX24" fmla="*/ 0 w 655257"/>
              <a:gd name="connsiteY24" fmla="*/ 0 h 352996"/>
              <a:gd name="connsiteX0" fmla="*/ 0 w 655257"/>
              <a:gd name="connsiteY0" fmla="*/ 0 h 352996"/>
              <a:gd name="connsiteX1" fmla="*/ 62088 w 655257"/>
              <a:gd name="connsiteY1" fmla="*/ 2353 h 352996"/>
              <a:gd name="connsiteX2" fmla="*/ 110994 w 655257"/>
              <a:gd name="connsiteY2" fmla="*/ 6943 h 352996"/>
              <a:gd name="connsiteX3" fmla="*/ 152285 w 655257"/>
              <a:gd name="connsiteY3" fmla="*/ 16461 h 352996"/>
              <a:gd name="connsiteX4" fmla="*/ 220379 w 655257"/>
              <a:gd name="connsiteY4" fmla="*/ 31599 h 352996"/>
              <a:gd name="connsiteX5" fmla="*/ 296421 w 655257"/>
              <a:gd name="connsiteY5" fmla="*/ 52817 h 352996"/>
              <a:gd name="connsiteX6" fmla="*/ 346760 w 655257"/>
              <a:gd name="connsiteY6" fmla="*/ 74398 h 352996"/>
              <a:gd name="connsiteX7" fmla="*/ 398833 w 655257"/>
              <a:gd name="connsiteY7" fmla="*/ 98049 h 352996"/>
              <a:gd name="connsiteX8" fmla="*/ 449808 w 655257"/>
              <a:gd name="connsiteY8" fmla="*/ 127094 h 352996"/>
              <a:gd name="connsiteX9" fmla="*/ 506975 w 655257"/>
              <a:gd name="connsiteY9" fmla="*/ 162013 h 352996"/>
              <a:gd name="connsiteX10" fmla="*/ 541600 w 655257"/>
              <a:gd name="connsiteY10" fmla="*/ 186458 h 352996"/>
              <a:gd name="connsiteX11" fmla="*/ 581942 w 655257"/>
              <a:gd name="connsiteY11" fmla="*/ 220110 h 352996"/>
              <a:gd name="connsiteX12" fmla="*/ 621173 w 655257"/>
              <a:gd name="connsiteY12" fmla="*/ 252289 h 352996"/>
              <a:gd name="connsiteX13" fmla="*/ 655257 w 655257"/>
              <a:gd name="connsiteY13" fmla="*/ 284700 h 352996"/>
              <a:gd name="connsiteX14" fmla="*/ 589996 w 655257"/>
              <a:gd name="connsiteY14" fmla="*/ 352996 h 352996"/>
              <a:gd name="connsiteX15" fmla="*/ 521636 w 655257"/>
              <a:gd name="connsiteY15" fmla="*/ 290484 h 352996"/>
              <a:gd name="connsiteX16" fmla="*/ 437337 w 655257"/>
              <a:gd name="connsiteY16" fmla="*/ 231768 h 352996"/>
              <a:gd name="connsiteX17" fmla="*/ 381136 w 655257"/>
              <a:gd name="connsiteY17" fmla="*/ 196528 h 352996"/>
              <a:gd name="connsiteX18" fmla="*/ 328748 w 655257"/>
              <a:gd name="connsiteY18" fmla="*/ 170334 h 352996"/>
              <a:gd name="connsiteX19" fmla="*/ 258265 w 655257"/>
              <a:gd name="connsiteY19" fmla="*/ 143821 h 352996"/>
              <a:gd name="connsiteX20" fmla="*/ 193654 w 655257"/>
              <a:gd name="connsiteY20" fmla="*/ 120646 h 352996"/>
              <a:gd name="connsiteX21" fmla="*/ 128246 w 655257"/>
              <a:gd name="connsiteY21" fmla="*/ 108582 h 352996"/>
              <a:gd name="connsiteX22" fmla="*/ 71415 w 655257"/>
              <a:gd name="connsiteY22" fmla="*/ 97632 h 352996"/>
              <a:gd name="connsiteX23" fmla="*/ 2452 w 655257"/>
              <a:gd name="connsiteY23" fmla="*/ 95914 h 352996"/>
              <a:gd name="connsiteX24" fmla="*/ 0 w 655257"/>
              <a:gd name="connsiteY24" fmla="*/ 0 h 352996"/>
              <a:gd name="connsiteX0" fmla="*/ 0 w 655257"/>
              <a:gd name="connsiteY0" fmla="*/ 0 h 352996"/>
              <a:gd name="connsiteX1" fmla="*/ 62088 w 655257"/>
              <a:gd name="connsiteY1" fmla="*/ 2353 h 352996"/>
              <a:gd name="connsiteX2" fmla="*/ 110994 w 655257"/>
              <a:gd name="connsiteY2" fmla="*/ 6943 h 352996"/>
              <a:gd name="connsiteX3" fmla="*/ 152285 w 655257"/>
              <a:gd name="connsiteY3" fmla="*/ 16461 h 352996"/>
              <a:gd name="connsiteX4" fmla="*/ 220379 w 655257"/>
              <a:gd name="connsiteY4" fmla="*/ 31599 h 352996"/>
              <a:gd name="connsiteX5" fmla="*/ 296421 w 655257"/>
              <a:gd name="connsiteY5" fmla="*/ 52817 h 352996"/>
              <a:gd name="connsiteX6" fmla="*/ 346760 w 655257"/>
              <a:gd name="connsiteY6" fmla="*/ 74398 h 352996"/>
              <a:gd name="connsiteX7" fmla="*/ 398833 w 655257"/>
              <a:gd name="connsiteY7" fmla="*/ 98049 h 352996"/>
              <a:gd name="connsiteX8" fmla="*/ 449808 w 655257"/>
              <a:gd name="connsiteY8" fmla="*/ 127094 h 352996"/>
              <a:gd name="connsiteX9" fmla="*/ 506975 w 655257"/>
              <a:gd name="connsiteY9" fmla="*/ 162013 h 352996"/>
              <a:gd name="connsiteX10" fmla="*/ 541600 w 655257"/>
              <a:gd name="connsiteY10" fmla="*/ 186458 h 352996"/>
              <a:gd name="connsiteX11" fmla="*/ 581942 w 655257"/>
              <a:gd name="connsiteY11" fmla="*/ 220110 h 352996"/>
              <a:gd name="connsiteX12" fmla="*/ 621173 w 655257"/>
              <a:gd name="connsiteY12" fmla="*/ 252289 h 352996"/>
              <a:gd name="connsiteX13" fmla="*/ 655257 w 655257"/>
              <a:gd name="connsiteY13" fmla="*/ 284700 h 352996"/>
              <a:gd name="connsiteX14" fmla="*/ 589996 w 655257"/>
              <a:gd name="connsiteY14" fmla="*/ 352996 h 352996"/>
              <a:gd name="connsiteX15" fmla="*/ 521636 w 655257"/>
              <a:gd name="connsiteY15" fmla="*/ 290484 h 352996"/>
              <a:gd name="connsiteX16" fmla="*/ 448800 w 655257"/>
              <a:gd name="connsiteY16" fmla="*/ 235589 h 352996"/>
              <a:gd name="connsiteX17" fmla="*/ 381136 w 655257"/>
              <a:gd name="connsiteY17" fmla="*/ 196528 h 352996"/>
              <a:gd name="connsiteX18" fmla="*/ 328748 w 655257"/>
              <a:gd name="connsiteY18" fmla="*/ 170334 h 352996"/>
              <a:gd name="connsiteX19" fmla="*/ 258265 w 655257"/>
              <a:gd name="connsiteY19" fmla="*/ 143821 h 352996"/>
              <a:gd name="connsiteX20" fmla="*/ 193654 w 655257"/>
              <a:gd name="connsiteY20" fmla="*/ 120646 h 352996"/>
              <a:gd name="connsiteX21" fmla="*/ 128246 w 655257"/>
              <a:gd name="connsiteY21" fmla="*/ 108582 h 352996"/>
              <a:gd name="connsiteX22" fmla="*/ 71415 w 655257"/>
              <a:gd name="connsiteY22" fmla="*/ 97632 h 352996"/>
              <a:gd name="connsiteX23" fmla="*/ 2452 w 655257"/>
              <a:gd name="connsiteY23" fmla="*/ 95914 h 352996"/>
              <a:gd name="connsiteX24" fmla="*/ 0 w 655257"/>
              <a:gd name="connsiteY24" fmla="*/ 0 h 352996"/>
              <a:gd name="connsiteX0" fmla="*/ 1711 w 656968"/>
              <a:gd name="connsiteY0" fmla="*/ 0 h 352996"/>
              <a:gd name="connsiteX1" fmla="*/ 63799 w 656968"/>
              <a:gd name="connsiteY1" fmla="*/ 2353 h 352996"/>
              <a:gd name="connsiteX2" fmla="*/ 112705 w 656968"/>
              <a:gd name="connsiteY2" fmla="*/ 6943 h 352996"/>
              <a:gd name="connsiteX3" fmla="*/ 153996 w 656968"/>
              <a:gd name="connsiteY3" fmla="*/ 16461 h 352996"/>
              <a:gd name="connsiteX4" fmla="*/ 222090 w 656968"/>
              <a:gd name="connsiteY4" fmla="*/ 31599 h 352996"/>
              <a:gd name="connsiteX5" fmla="*/ 298132 w 656968"/>
              <a:gd name="connsiteY5" fmla="*/ 52817 h 352996"/>
              <a:gd name="connsiteX6" fmla="*/ 348471 w 656968"/>
              <a:gd name="connsiteY6" fmla="*/ 74398 h 352996"/>
              <a:gd name="connsiteX7" fmla="*/ 400544 w 656968"/>
              <a:gd name="connsiteY7" fmla="*/ 98049 h 352996"/>
              <a:gd name="connsiteX8" fmla="*/ 451519 w 656968"/>
              <a:gd name="connsiteY8" fmla="*/ 127094 h 352996"/>
              <a:gd name="connsiteX9" fmla="*/ 508686 w 656968"/>
              <a:gd name="connsiteY9" fmla="*/ 162013 h 352996"/>
              <a:gd name="connsiteX10" fmla="*/ 543311 w 656968"/>
              <a:gd name="connsiteY10" fmla="*/ 186458 h 352996"/>
              <a:gd name="connsiteX11" fmla="*/ 583653 w 656968"/>
              <a:gd name="connsiteY11" fmla="*/ 220110 h 352996"/>
              <a:gd name="connsiteX12" fmla="*/ 622884 w 656968"/>
              <a:gd name="connsiteY12" fmla="*/ 252289 h 352996"/>
              <a:gd name="connsiteX13" fmla="*/ 656968 w 656968"/>
              <a:gd name="connsiteY13" fmla="*/ 284700 h 352996"/>
              <a:gd name="connsiteX14" fmla="*/ 591707 w 656968"/>
              <a:gd name="connsiteY14" fmla="*/ 352996 h 352996"/>
              <a:gd name="connsiteX15" fmla="*/ 523347 w 656968"/>
              <a:gd name="connsiteY15" fmla="*/ 290484 h 352996"/>
              <a:gd name="connsiteX16" fmla="*/ 450511 w 656968"/>
              <a:gd name="connsiteY16" fmla="*/ 235589 h 352996"/>
              <a:gd name="connsiteX17" fmla="*/ 382847 w 656968"/>
              <a:gd name="connsiteY17" fmla="*/ 196528 h 352996"/>
              <a:gd name="connsiteX18" fmla="*/ 330459 w 656968"/>
              <a:gd name="connsiteY18" fmla="*/ 170334 h 352996"/>
              <a:gd name="connsiteX19" fmla="*/ 259976 w 656968"/>
              <a:gd name="connsiteY19" fmla="*/ 143821 h 352996"/>
              <a:gd name="connsiteX20" fmla="*/ 195365 w 656968"/>
              <a:gd name="connsiteY20" fmla="*/ 120646 h 352996"/>
              <a:gd name="connsiteX21" fmla="*/ 129957 w 656968"/>
              <a:gd name="connsiteY21" fmla="*/ 108582 h 352996"/>
              <a:gd name="connsiteX22" fmla="*/ 73126 w 656968"/>
              <a:gd name="connsiteY22" fmla="*/ 97632 h 352996"/>
              <a:gd name="connsiteX23" fmla="*/ 341 w 656968"/>
              <a:gd name="connsiteY23" fmla="*/ 97824 h 352996"/>
              <a:gd name="connsiteX24" fmla="*/ 1711 w 656968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195564 w 657167"/>
              <a:gd name="connsiteY20" fmla="*/ 120646 h 352996"/>
              <a:gd name="connsiteX21" fmla="*/ 130156 w 657167"/>
              <a:gd name="connsiteY21" fmla="*/ 108582 h 352996"/>
              <a:gd name="connsiteX22" fmla="*/ 73325 w 657167"/>
              <a:gd name="connsiteY22" fmla="*/ 9763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195564 w 657167"/>
              <a:gd name="connsiteY20" fmla="*/ 120646 h 352996"/>
              <a:gd name="connsiteX21" fmla="*/ 130156 w 657167"/>
              <a:gd name="connsiteY21" fmla="*/ 108582 h 352996"/>
              <a:gd name="connsiteX22" fmla="*/ 73325 w 657167"/>
              <a:gd name="connsiteY22" fmla="*/ 9954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195564 w 657167"/>
              <a:gd name="connsiteY20" fmla="*/ 120646 h 352996"/>
              <a:gd name="connsiteX21" fmla="*/ 137798 w 657167"/>
              <a:gd name="connsiteY21" fmla="*/ 110493 h 352996"/>
              <a:gd name="connsiteX22" fmla="*/ 73325 w 657167"/>
              <a:gd name="connsiteY22" fmla="*/ 9954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207026 w 657167"/>
              <a:gd name="connsiteY20" fmla="*/ 120646 h 352996"/>
              <a:gd name="connsiteX21" fmla="*/ 137798 w 657167"/>
              <a:gd name="connsiteY21" fmla="*/ 110493 h 352996"/>
              <a:gd name="connsiteX22" fmla="*/ 73325 w 657167"/>
              <a:gd name="connsiteY22" fmla="*/ 9954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30071"/>
              <a:gd name="connsiteX1" fmla="*/ 63998 w 657167"/>
              <a:gd name="connsiteY1" fmla="*/ 2353 h 330071"/>
              <a:gd name="connsiteX2" fmla="*/ 112904 w 657167"/>
              <a:gd name="connsiteY2" fmla="*/ 6943 h 330071"/>
              <a:gd name="connsiteX3" fmla="*/ 154195 w 657167"/>
              <a:gd name="connsiteY3" fmla="*/ 16461 h 330071"/>
              <a:gd name="connsiteX4" fmla="*/ 222289 w 657167"/>
              <a:gd name="connsiteY4" fmla="*/ 31599 h 330071"/>
              <a:gd name="connsiteX5" fmla="*/ 298331 w 657167"/>
              <a:gd name="connsiteY5" fmla="*/ 52817 h 330071"/>
              <a:gd name="connsiteX6" fmla="*/ 348670 w 657167"/>
              <a:gd name="connsiteY6" fmla="*/ 74398 h 330071"/>
              <a:gd name="connsiteX7" fmla="*/ 400743 w 657167"/>
              <a:gd name="connsiteY7" fmla="*/ 98049 h 330071"/>
              <a:gd name="connsiteX8" fmla="*/ 451718 w 657167"/>
              <a:gd name="connsiteY8" fmla="*/ 127094 h 330071"/>
              <a:gd name="connsiteX9" fmla="*/ 508885 w 657167"/>
              <a:gd name="connsiteY9" fmla="*/ 162013 h 330071"/>
              <a:gd name="connsiteX10" fmla="*/ 543510 w 657167"/>
              <a:gd name="connsiteY10" fmla="*/ 186458 h 330071"/>
              <a:gd name="connsiteX11" fmla="*/ 583852 w 657167"/>
              <a:gd name="connsiteY11" fmla="*/ 220110 h 330071"/>
              <a:gd name="connsiteX12" fmla="*/ 623083 w 657167"/>
              <a:gd name="connsiteY12" fmla="*/ 252289 h 330071"/>
              <a:gd name="connsiteX13" fmla="*/ 657167 w 657167"/>
              <a:gd name="connsiteY13" fmla="*/ 284700 h 330071"/>
              <a:gd name="connsiteX14" fmla="*/ 563886 w 657167"/>
              <a:gd name="connsiteY14" fmla="*/ 330071 h 330071"/>
              <a:gd name="connsiteX15" fmla="*/ 523546 w 657167"/>
              <a:gd name="connsiteY15" fmla="*/ 290484 h 330071"/>
              <a:gd name="connsiteX16" fmla="*/ 450710 w 657167"/>
              <a:gd name="connsiteY16" fmla="*/ 235589 h 330071"/>
              <a:gd name="connsiteX17" fmla="*/ 383046 w 657167"/>
              <a:gd name="connsiteY17" fmla="*/ 196528 h 330071"/>
              <a:gd name="connsiteX18" fmla="*/ 330658 w 657167"/>
              <a:gd name="connsiteY18" fmla="*/ 170334 h 330071"/>
              <a:gd name="connsiteX19" fmla="*/ 260175 w 657167"/>
              <a:gd name="connsiteY19" fmla="*/ 143821 h 330071"/>
              <a:gd name="connsiteX20" fmla="*/ 207026 w 657167"/>
              <a:gd name="connsiteY20" fmla="*/ 120646 h 330071"/>
              <a:gd name="connsiteX21" fmla="*/ 137798 w 657167"/>
              <a:gd name="connsiteY21" fmla="*/ 110493 h 330071"/>
              <a:gd name="connsiteX22" fmla="*/ 73325 w 657167"/>
              <a:gd name="connsiteY22" fmla="*/ 99542 h 330071"/>
              <a:gd name="connsiteX23" fmla="*/ 540 w 657167"/>
              <a:gd name="connsiteY23" fmla="*/ 97824 h 330071"/>
              <a:gd name="connsiteX24" fmla="*/ 0 w 657167"/>
              <a:gd name="connsiteY24" fmla="*/ 0 h 330071"/>
              <a:gd name="connsiteX0" fmla="*/ 0 w 657305"/>
              <a:gd name="connsiteY0" fmla="*/ 0 h 330071"/>
              <a:gd name="connsiteX1" fmla="*/ 63998 w 657305"/>
              <a:gd name="connsiteY1" fmla="*/ 2353 h 330071"/>
              <a:gd name="connsiteX2" fmla="*/ 112904 w 657305"/>
              <a:gd name="connsiteY2" fmla="*/ 6943 h 330071"/>
              <a:gd name="connsiteX3" fmla="*/ 154195 w 657305"/>
              <a:gd name="connsiteY3" fmla="*/ 16461 h 330071"/>
              <a:gd name="connsiteX4" fmla="*/ 222289 w 657305"/>
              <a:gd name="connsiteY4" fmla="*/ 31599 h 330071"/>
              <a:gd name="connsiteX5" fmla="*/ 298331 w 657305"/>
              <a:gd name="connsiteY5" fmla="*/ 52817 h 330071"/>
              <a:gd name="connsiteX6" fmla="*/ 348670 w 657305"/>
              <a:gd name="connsiteY6" fmla="*/ 74398 h 330071"/>
              <a:gd name="connsiteX7" fmla="*/ 400743 w 657305"/>
              <a:gd name="connsiteY7" fmla="*/ 98049 h 330071"/>
              <a:gd name="connsiteX8" fmla="*/ 451718 w 657305"/>
              <a:gd name="connsiteY8" fmla="*/ 127094 h 330071"/>
              <a:gd name="connsiteX9" fmla="*/ 508885 w 657305"/>
              <a:gd name="connsiteY9" fmla="*/ 162013 h 330071"/>
              <a:gd name="connsiteX10" fmla="*/ 543510 w 657305"/>
              <a:gd name="connsiteY10" fmla="*/ 186458 h 330071"/>
              <a:gd name="connsiteX11" fmla="*/ 583852 w 657305"/>
              <a:gd name="connsiteY11" fmla="*/ 220110 h 330071"/>
              <a:gd name="connsiteX12" fmla="*/ 657167 w 657305"/>
              <a:gd name="connsiteY12" fmla="*/ 284700 h 330071"/>
              <a:gd name="connsiteX13" fmla="*/ 563886 w 657305"/>
              <a:gd name="connsiteY13" fmla="*/ 330071 h 330071"/>
              <a:gd name="connsiteX14" fmla="*/ 523546 w 657305"/>
              <a:gd name="connsiteY14" fmla="*/ 290484 h 330071"/>
              <a:gd name="connsiteX15" fmla="*/ 450710 w 657305"/>
              <a:gd name="connsiteY15" fmla="*/ 235589 h 330071"/>
              <a:gd name="connsiteX16" fmla="*/ 383046 w 657305"/>
              <a:gd name="connsiteY16" fmla="*/ 196528 h 330071"/>
              <a:gd name="connsiteX17" fmla="*/ 330658 w 657305"/>
              <a:gd name="connsiteY17" fmla="*/ 170334 h 330071"/>
              <a:gd name="connsiteX18" fmla="*/ 260175 w 657305"/>
              <a:gd name="connsiteY18" fmla="*/ 143821 h 330071"/>
              <a:gd name="connsiteX19" fmla="*/ 207026 w 657305"/>
              <a:gd name="connsiteY19" fmla="*/ 120646 h 330071"/>
              <a:gd name="connsiteX20" fmla="*/ 137798 w 657305"/>
              <a:gd name="connsiteY20" fmla="*/ 110493 h 330071"/>
              <a:gd name="connsiteX21" fmla="*/ 73325 w 657305"/>
              <a:gd name="connsiteY21" fmla="*/ 99542 h 330071"/>
              <a:gd name="connsiteX22" fmla="*/ 540 w 657305"/>
              <a:gd name="connsiteY22" fmla="*/ 97824 h 330071"/>
              <a:gd name="connsiteX23" fmla="*/ 0 w 657305"/>
              <a:gd name="connsiteY23" fmla="*/ 0 h 330071"/>
              <a:gd name="connsiteX0" fmla="*/ 0 w 657167"/>
              <a:gd name="connsiteY0" fmla="*/ 0 h 330071"/>
              <a:gd name="connsiteX1" fmla="*/ 63998 w 657167"/>
              <a:gd name="connsiteY1" fmla="*/ 2353 h 330071"/>
              <a:gd name="connsiteX2" fmla="*/ 112904 w 657167"/>
              <a:gd name="connsiteY2" fmla="*/ 6943 h 330071"/>
              <a:gd name="connsiteX3" fmla="*/ 154195 w 657167"/>
              <a:gd name="connsiteY3" fmla="*/ 16461 h 330071"/>
              <a:gd name="connsiteX4" fmla="*/ 222289 w 657167"/>
              <a:gd name="connsiteY4" fmla="*/ 31599 h 330071"/>
              <a:gd name="connsiteX5" fmla="*/ 298331 w 657167"/>
              <a:gd name="connsiteY5" fmla="*/ 52817 h 330071"/>
              <a:gd name="connsiteX6" fmla="*/ 348670 w 657167"/>
              <a:gd name="connsiteY6" fmla="*/ 74398 h 330071"/>
              <a:gd name="connsiteX7" fmla="*/ 400743 w 657167"/>
              <a:gd name="connsiteY7" fmla="*/ 98049 h 330071"/>
              <a:gd name="connsiteX8" fmla="*/ 451718 w 657167"/>
              <a:gd name="connsiteY8" fmla="*/ 127094 h 330071"/>
              <a:gd name="connsiteX9" fmla="*/ 508885 w 657167"/>
              <a:gd name="connsiteY9" fmla="*/ 162013 h 330071"/>
              <a:gd name="connsiteX10" fmla="*/ 543510 w 657167"/>
              <a:gd name="connsiteY10" fmla="*/ 186458 h 330071"/>
              <a:gd name="connsiteX11" fmla="*/ 583852 w 657167"/>
              <a:gd name="connsiteY11" fmla="*/ 220110 h 330071"/>
              <a:gd name="connsiteX12" fmla="*/ 657167 w 657167"/>
              <a:gd name="connsiteY12" fmla="*/ 284700 h 330071"/>
              <a:gd name="connsiteX13" fmla="*/ 563886 w 657167"/>
              <a:gd name="connsiteY13" fmla="*/ 330071 h 330071"/>
              <a:gd name="connsiteX14" fmla="*/ 523546 w 657167"/>
              <a:gd name="connsiteY14" fmla="*/ 290484 h 330071"/>
              <a:gd name="connsiteX15" fmla="*/ 450710 w 657167"/>
              <a:gd name="connsiteY15" fmla="*/ 235589 h 330071"/>
              <a:gd name="connsiteX16" fmla="*/ 383046 w 657167"/>
              <a:gd name="connsiteY16" fmla="*/ 196528 h 330071"/>
              <a:gd name="connsiteX17" fmla="*/ 330658 w 657167"/>
              <a:gd name="connsiteY17" fmla="*/ 170334 h 330071"/>
              <a:gd name="connsiteX18" fmla="*/ 260175 w 657167"/>
              <a:gd name="connsiteY18" fmla="*/ 143821 h 330071"/>
              <a:gd name="connsiteX19" fmla="*/ 207026 w 657167"/>
              <a:gd name="connsiteY19" fmla="*/ 120646 h 330071"/>
              <a:gd name="connsiteX20" fmla="*/ 137798 w 657167"/>
              <a:gd name="connsiteY20" fmla="*/ 110493 h 330071"/>
              <a:gd name="connsiteX21" fmla="*/ 73325 w 657167"/>
              <a:gd name="connsiteY21" fmla="*/ 99542 h 330071"/>
              <a:gd name="connsiteX22" fmla="*/ 540 w 657167"/>
              <a:gd name="connsiteY22" fmla="*/ 97824 h 330071"/>
              <a:gd name="connsiteX23" fmla="*/ 0 w 657167"/>
              <a:gd name="connsiteY23" fmla="*/ 0 h 330071"/>
              <a:gd name="connsiteX0" fmla="*/ 0 w 636152"/>
              <a:gd name="connsiteY0" fmla="*/ 0 h 330071"/>
              <a:gd name="connsiteX1" fmla="*/ 63998 w 636152"/>
              <a:gd name="connsiteY1" fmla="*/ 2353 h 330071"/>
              <a:gd name="connsiteX2" fmla="*/ 112904 w 636152"/>
              <a:gd name="connsiteY2" fmla="*/ 6943 h 330071"/>
              <a:gd name="connsiteX3" fmla="*/ 154195 w 636152"/>
              <a:gd name="connsiteY3" fmla="*/ 16461 h 330071"/>
              <a:gd name="connsiteX4" fmla="*/ 222289 w 636152"/>
              <a:gd name="connsiteY4" fmla="*/ 31599 h 330071"/>
              <a:gd name="connsiteX5" fmla="*/ 298331 w 636152"/>
              <a:gd name="connsiteY5" fmla="*/ 52817 h 330071"/>
              <a:gd name="connsiteX6" fmla="*/ 348670 w 636152"/>
              <a:gd name="connsiteY6" fmla="*/ 74398 h 330071"/>
              <a:gd name="connsiteX7" fmla="*/ 400743 w 636152"/>
              <a:gd name="connsiteY7" fmla="*/ 98049 h 330071"/>
              <a:gd name="connsiteX8" fmla="*/ 451718 w 636152"/>
              <a:gd name="connsiteY8" fmla="*/ 127094 h 330071"/>
              <a:gd name="connsiteX9" fmla="*/ 508885 w 636152"/>
              <a:gd name="connsiteY9" fmla="*/ 162013 h 330071"/>
              <a:gd name="connsiteX10" fmla="*/ 543510 w 636152"/>
              <a:gd name="connsiteY10" fmla="*/ 186458 h 330071"/>
              <a:gd name="connsiteX11" fmla="*/ 583852 w 636152"/>
              <a:gd name="connsiteY11" fmla="*/ 220110 h 330071"/>
              <a:gd name="connsiteX12" fmla="*/ 636152 w 636152"/>
              <a:gd name="connsiteY12" fmla="*/ 267506 h 330071"/>
              <a:gd name="connsiteX13" fmla="*/ 563886 w 636152"/>
              <a:gd name="connsiteY13" fmla="*/ 330071 h 330071"/>
              <a:gd name="connsiteX14" fmla="*/ 523546 w 636152"/>
              <a:gd name="connsiteY14" fmla="*/ 290484 h 330071"/>
              <a:gd name="connsiteX15" fmla="*/ 450710 w 636152"/>
              <a:gd name="connsiteY15" fmla="*/ 235589 h 330071"/>
              <a:gd name="connsiteX16" fmla="*/ 383046 w 636152"/>
              <a:gd name="connsiteY16" fmla="*/ 196528 h 330071"/>
              <a:gd name="connsiteX17" fmla="*/ 330658 w 636152"/>
              <a:gd name="connsiteY17" fmla="*/ 170334 h 330071"/>
              <a:gd name="connsiteX18" fmla="*/ 260175 w 636152"/>
              <a:gd name="connsiteY18" fmla="*/ 143821 h 330071"/>
              <a:gd name="connsiteX19" fmla="*/ 207026 w 636152"/>
              <a:gd name="connsiteY19" fmla="*/ 120646 h 330071"/>
              <a:gd name="connsiteX20" fmla="*/ 137798 w 636152"/>
              <a:gd name="connsiteY20" fmla="*/ 110493 h 330071"/>
              <a:gd name="connsiteX21" fmla="*/ 73325 w 636152"/>
              <a:gd name="connsiteY21" fmla="*/ 99542 h 330071"/>
              <a:gd name="connsiteX22" fmla="*/ 540 w 636152"/>
              <a:gd name="connsiteY22" fmla="*/ 97824 h 330071"/>
              <a:gd name="connsiteX23" fmla="*/ 0 w 636152"/>
              <a:gd name="connsiteY23" fmla="*/ 0 h 330071"/>
              <a:gd name="connsiteX0" fmla="*/ 0 w 630420"/>
              <a:gd name="connsiteY0" fmla="*/ 0 h 330071"/>
              <a:gd name="connsiteX1" fmla="*/ 63998 w 630420"/>
              <a:gd name="connsiteY1" fmla="*/ 2353 h 330071"/>
              <a:gd name="connsiteX2" fmla="*/ 112904 w 630420"/>
              <a:gd name="connsiteY2" fmla="*/ 6943 h 330071"/>
              <a:gd name="connsiteX3" fmla="*/ 154195 w 630420"/>
              <a:gd name="connsiteY3" fmla="*/ 16461 h 330071"/>
              <a:gd name="connsiteX4" fmla="*/ 222289 w 630420"/>
              <a:gd name="connsiteY4" fmla="*/ 31599 h 330071"/>
              <a:gd name="connsiteX5" fmla="*/ 298331 w 630420"/>
              <a:gd name="connsiteY5" fmla="*/ 52817 h 330071"/>
              <a:gd name="connsiteX6" fmla="*/ 348670 w 630420"/>
              <a:gd name="connsiteY6" fmla="*/ 74398 h 330071"/>
              <a:gd name="connsiteX7" fmla="*/ 400743 w 630420"/>
              <a:gd name="connsiteY7" fmla="*/ 98049 h 330071"/>
              <a:gd name="connsiteX8" fmla="*/ 451718 w 630420"/>
              <a:gd name="connsiteY8" fmla="*/ 127094 h 330071"/>
              <a:gd name="connsiteX9" fmla="*/ 508885 w 630420"/>
              <a:gd name="connsiteY9" fmla="*/ 162013 h 330071"/>
              <a:gd name="connsiteX10" fmla="*/ 543510 w 630420"/>
              <a:gd name="connsiteY10" fmla="*/ 186458 h 330071"/>
              <a:gd name="connsiteX11" fmla="*/ 583852 w 630420"/>
              <a:gd name="connsiteY11" fmla="*/ 220110 h 330071"/>
              <a:gd name="connsiteX12" fmla="*/ 630420 w 630420"/>
              <a:gd name="connsiteY12" fmla="*/ 263686 h 330071"/>
              <a:gd name="connsiteX13" fmla="*/ 563886 w 630420"/>
              <a:gd name="connsiteY13" fmla="*/ 330071 h 330071"/>
              <a:gd name="connsiteX14" fmla="*/ 523546 w 630420"/>
              <a:gd name="connsiteY14" fmla="*/ 290484 h 330071"/>
              <a:gd name="connsiteX15" fmla="*/ 450710 w 630420"/>
              <a:gd name="connsiteY15" fmla="*/ 235589 h 330071"/>
              <a:gd name="connsiteX16" fmla="*/ 383046 w 630420"/>
              <a:gd name="connsiteY16" fmla="*/ 196528 h 330071"/>
              <a:gd name="connsiteX17" fmla="*/ 330658 w 630420"/>
              <a:gd name="connsiteY17" fmla="*/ 170334 h 330071"/>
              <a:gd name="connsiteX18" fmla="*/ 260175 w 630420"/>
              <a:gd name="connsiteY18" fmla="*/ 143821 h 330071"/>
              <a:gd name="connsiteX19" fmla="*/ 207026 w 630420"/>
              <a:gd name="connsiteY19" fmla="*/ 120646 h 330071"/>
              <a:gd name="connsiteX20" fmla="*/ 137798 w 630420"/>
              <a:gd name="connsiteY20" fmla="*/ 110493 h 330071"/>
              <a:gd name="connsiteX21" fmla="*/ 73325 w 630420"/>
              <a:gd name="connsiteY21" fmla="*/ 99542 h 330071"/>
              <a:gd name="connsiteX22" fmla="*/ 540 w 630420"/>
              <a:gd name="connsiteY22" fmla="*/ 97824 h 330071"/>
              <a:gd name="connsiteX23" fmla="*/ 0 w 630420"/>
              <a:gd name="connsiteY23" fmla="*/ 0 h 330071"/>
              <a:gd name="connsiteX0" fmla="*/ 0 w 630420"/>
              <a:gd name="connsiteY0" fmla="*/ 0 h 316698"/>
              <a:gd name="connsiteX1" fmla="*/ 63998 w 630420"/>
              <a:gd name="connsiteY1" fmla="*/ 2353 h 316698"/>
              <a:gd name="connsiteX2" fmla="*/ 112904 w 630420"/>
              <a:gd name="connsiteY2" fmla="*/ 6943 h 316698"/>
              <a:gd name="connsiteX3" fmla="*/ 154195 w 630420"/>
              <a:gd name="connsiteY3" fmla="*/ 16461 h 316698"/>
              <a:gd name="connsiteX4" fmla="*/ 222289 w 630420"/>
              <a:gd name="connsiteY4" fmla="*/ 31599 h 316698"/>
              <a:gd name="connsiteX5" fmla="*/ 298331 w 630420"/>
              <a:gd name="connsiteY5" fmla="*/ 52817 h 316698"/>
              <a:gd name="connsiteX6" fmla="*/ 348670 w 630420"/>
              <a:gd name="connsiteY6" fmla="*/ 74398 h 316698"/>
              <a:gd name="connsiteX7" fmla="*/ 400743 w 630420"/>
              <a:gd name="connsiteY7" fmla="*/ 98049 h 316698"/>
              <a:gd name="connsiteX8" fmla="*/ 451718 w 630420"/>
              <a:gd name="connsiteY8" fmla="*/ 127094 h 316698"/>
              <a:gd name="connsiteX9" fmla="*/ 508885 w 630420"/>
              <a:gd name="connsiteY9" fmla="*/ 162013 h 316698"/>
              <a:gd name="connsiteX10" fmla="*/ 543510 w 630420"/>
              <a:gd name="connsiteY10" fmla="*/ 186458 h 316698"/>
              <a:gd name="connsiteX11" fmla="*/ 583852 w 630420"/>
              <a:gd name="connsiteY11" fmla="*/ 220110 h 316698"/>
              <a:gd name="connsiteX12" fmla="*/ 630420 w 630420"/>
              <a:gd name="connsiteY12" fmla="*/ 263686 h 316698"/>
              <a:gd name="connsiteX13" fmla="*/ 550513 w 630420"/>
              <a:gd name="connsiteY13" fmla="*/ 316698 h 316698"/>
              <a:gd name="connsiteX14" fmla="*/ 523546 w 630420"/>
              <a:gd name="connsiteY14" fmla="*/ 290484 h 316698"/>
              <a:gd name="connsiteX15" fmla="*/ 450710 w 630420"/>
              <a:gd name="connsiteY15" fmla="*/ 235589 h 316698"/>
              <a:gd name="connsiteX16" fmla="*/ 383046 w 630420"/>
              <a:gd name="connsiteY16" fmla="*/ 196528 h 316698"/>
              <a:gd name="connsiteX17" fmla="*/ 330658 w 630420"/>
              <a:gd name="connsiteY17" fmla="*/ 170334 h 316698"/>
              <a:gd name="connsiteX18" fmla="*/ 260175 w 630420"/>
              <a:gd name="connsiteY18" fmla="*/ 143821 h 316698"/>
              <a:gd name="connsiteX19" fmla="*/ 207026 w 630420"/>
              <a:gd name="connsiteY19" fmla="*/ 120646 h 316698"/>
              <a:gd name="connsiteX20" fmla="*/ 137798 w 630420"/>
              <a:gd name="connsiteY20" fmla="*/ 110493 h 316698"/>
              <a:gd name="connsiteX21" fmla="*/ 73325 w 630420"/>
              <a:gd name="connsiteY21" fmla="*/ 99542 h 316698"/>
              <a:gd name="connsiteX22" fmla="*/ 540 w 630420"/>
              <a:gd name="connsiteY22" fmla="*/ 97824 h 316698"/>
              <a:gd name="connsiteX23" fmla="*/ 0 w 630420"/>
              <a:gd name="connsiteY23" fmla="*/ 0 h 316698"/>
              <a:gd name="connsiteX0" fmla="*/ 0 w 630420"/>
              <a:gd name="connsiteY0" fmla="*/ 0 h 316698"/>
              <a:gd name="connsiteX1" fmla="*/ 63998 w 630420"/>
              <a:gd name="connsiteY1" fmla="*/ 2353 h 316698"/>
              <a:gd name="connsiteX2" fmla="*/ 112904 w 630420"/>
              <a:gd name="connsiteY2" fmla="*/ 6943 h 316698"/>
              <a:gd name="connsiteX3" fmla="*/ 154195 w 630420"/>
              <a:gd name="connsiteY3" fmla="*/ 16461 h 316698"/>
              <a:gd name="connsiteX4" fmla="*/ 222289 w 630420"/>
              <a:gd name="connsiteY4" fmla="*/ 31599 h 316698"/>
              <a:gd name="connsiteX5" fmla="*/ 298331 w 630420"/>
              <a:gd name="connsiteY5" fmla="*/ 52817 h 316698"/>
              <a:gd name="connsiteX6" fmla="*/ 348670 w 630420"/>
              <a:gd name="connsiteY6" fmla="*/ 74398 h 316698"/>
              <a:gd name="connsiteX7" fmla="*/ 400743 w 630420"/>
              <a:gd name="connsiteY7" fmla="*/ 98049 h 316698"/>
              <a:gd name="connsiteX8" fmla="*/ 451718 w 630420"/>
              <a:gd name="connsiteY8" fmla="*/ 127094 h 316698"/>
              <a:gd name="connsiteX9" fmla="*/ 508885 w 630420"/>
              <a:gd name="connsiteY9" fmla="*/ 162013 h 316698"/>
              <a:gd name="connsiteX10" fmla="*/ 543510 w 630420"/>
              <a:gd name="connsiteY10" fmla="*/ 186458 h 316698"/>
              <a:gd name="connsiteX11" fmla="*/ 583852 w 630420"/>
              <a:gd name="connsiteY11" fmla="*/ 220110 h 316698"/>
              <a:gd name="connsiteX12" fmla="*/ 630420 w 630420"/>
              <a:gd name="connsiteY12" fmla="*/ 263686 h 316698"/>
              <a:gd name="connsiteX13" fmla="*/ 550513 w 630420"/>
              <a:gd name="connsiteY13" fmla="*/ 316698 h 316698"/>
              <a:gd name="connsiteX14" fmla="*/ 506352 w 630420"/>
              <a:gd name="connsiteY14" fmla="*/ 273289 h 316698"/>
              <a:gd name="connsiteX15" fmla="*/ 450710 w 630420"/>
              <a:gd name="connsiteY15" fmla="*/ 235589 h 316698"/>
              <a:gd name="connsiteX16" fmla="*/ 383046 w 630420"/>
              <a:gd name="connsiteY16" fmla="*/ 196528 h 316698"/>
              <a:gd name="connsiteX17" fmla="*/ 330658 w 630420"/>
              <a:gd name="connsiteY17" fmla="*/ 170334 h 316698"/>
              <a:gd name="connsiteX18" fmla="*/ 260175 w 630420"/>
              <a:gd name="connsiteY18" fmla="*/ 143821 h 316698"/>
              <a:gd name="connsiteX19" fmla="*/ 207026 w 630420"/>
              <a:gd name="connsiteY19" fmla="*/ 120646 h 316698"/>
              <a:gd name="connsiteX20" fmla="*/ 137798 w 630420"/>
              <a:gd name="connsiteY20" fmla="*/ 110493 h 316698"/>
              <a:gd name="connsiteX21" fmla="*/ 73325 w 630420"/>
              <a:gd name="connsiteY21" fmla="*/ 99542 h 316698"/>
              <a:gd name="connsiteX22" fmla="*/ 540 w 630420"/>
              <a:gd name="connsiteY22" fmla="*/ 97824 h 316698"/>
              <a:gd name="connsiteX23" fmla="*/ 0 w 630420"/>
              <a:gd name="connsiteY23" fmla="*/ 0 h 316698"/>
              <a:gd name="connsiteX0" fmla="*/ 0 w 615136"/>
              <a:gd name="connsiteY0" fmla="*/ 0 h 316698"/>
              <a:gd name="connsiteX1" fmla="*/ 63998 w 615136"/>
              <a:gd name="connsiteY1" fmla="*/ 2353 h 316698"/>
              <a:gd name="connsiteX2" fmla="*/ 112904 w 615136"/>
              <a:gd name="connsiteY2" fmla="*/ 694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48402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1315"/>
              <a:gd name="connsiteY0" fmla="*/ 0 h 316698"/>
              <a:gd name="connsiteX1" fmla="*/ 63998 w 611315"/>
              <a:gd name="connsiteY1" fmla="*/ 2353 h 316698"/>
              <a:gd name="connsiteX2" fmla="*/ 112904 w 611315"/>
              <a:gd name="connsiteY2" fmla="*/ 6943 h 316698"/>
              <a:gd name="connsiteX3" fmla="*/ 154195 w 611315"/>
              <a:gd name="connsiteY3" fmla="*/ 16461 h 316698"/>
              <a:gd name="connsiteX4" fmla="*/ 222289 w 611315"/>
              <a:gd name="connsiteY4" fmla="*/ 31599 h 316698"/>
              <a:gd name="connsiteX5" fmla="*/ 298331 w 611315"/>
              <a:gd name="connsiteY5" fmla="*/ 52817 h 316698"/>
              <a:gd name="connsiteX6" fmla="*/ 348670 w 611315"/>
              <a:gd name="connsiteY6" fmla="*/ 74398 h 316698"/>
              <a:gd name="connsiteX7" fmla="*/ 400743 w 611315"/>
              <a:gd name="connsiteY7" fmla="*/ 98049 h 316698"/>
              <a:gd name="connsiteX8" fmla="*/ 451718 w 611315"/>
              <a:gd name="connsiteY8" fmla="*/ 127094 h 316698"/>
              <a:gd name="connsiteX9" fmla="*/ 508885 w 611315"/>
              <a:gd name="connsiteY9" fmla="*/ 162013 h 316698"/>
              <a:gd name="connsiteX10" fmla="*/ 543510 w 611315"/>
              <a:gd name="connsiteY10" fmla="*/ 186458 h 316698"/>
              <a:gd name="connsiteX11" fmla="*/ 583852 w 611315"/>
              <a:gd name="connsiteY11" fmla="*/ 220110 h 316698"/>
              <a:gd name="connsiteX12" fmla="*/ 611315 w 611315"/>
              <a:gd name="connsiteY12" fmla="*/ 244582 h 316698"/>
              <a:gd name="connsiteX13" fmla="*/ 550513 w 611315"/>
              <a:gd name="connsiteY13" fmla="*/ 316698 h 316698"/>
              <a:gd name="connsiteX14" fmla="*/ 506352 w 611315"/>
              <a:gd name="connsiteY14" fmla="*/ 273289 h 316698"/>
              <a:gd name="connsiteX15" fmla="*/ 450710 w 611315"/>
              <a:gd name="connsiteY15" fmla="*/ 235589 h 316698"/>
              <a:gd name="connsiteX16" fmla="*/ 383046 w 611315"/>
              <a:gd name="connsiteY16" fmla="*/ 196528 h 316698"/>
              <a:gd name="connsiteX17" fmla="*/ 330658 w 611315"/>
              <a:gd name="connsiteY17" fmla="*/ 170334 h 316698"/>
              <a:gd name="connsiteX18" fmla="*/ 260175 w 611315"/>
              <a:gd name="connsiteY18" fmla="*/ 143821 h 316698"/>
              <a:gd name="connsiteX19" fmla="*/ 207026 w 611315"/>
              <a:gd name="connsiteY19" fmla="*/ 120646 h 316698"/>
              <a:gd name="connsiteX20" fmla="*/ 137798 w 611315"/>
              <a:gd name="connsiteY20" fmla="*/ 110493 h 316698"/>
              <a:gd name="connsiteX21" fmla="*/ 73325 w 611315"/>
              <a:gd name="connsiteY21" fmla="*/ 99542 h 316698"/>
              <a:gd name="connsiteX22" fmla="*/ 540 w 611315"/>
              <a:gd name="connsiteY22" fmla="*/ 97824 h 316698"/>
              <a:gd name="connsiteX23" fmla="*/ 0 w 611315"/>
              <a:gd name="connsiteY23" fmla="*/ 0 h 316698"/>
              <a:gd name="connsiteX0" fmla="*/ 0 w 615136"/>
              <a:gd name="connsiteY0" fmla="*/ 0 h 316698"/>
              <a:gd name="connsiteX1" fmla="*/ 63998 w 615136"/>
              <a:gd name="connsiteY1" fmla="*/ 2353 h 316698"/>
              <a:gd name="connsiteX2" fmla="*/ 112904 w 615136"/>
              <a:gd name="connsiteY2" fmla="*/ 694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50313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5136"/>
              <a:gd name="connsiteY0" fmla="*/ 0 h 316698"/>
              <a:gd name="connsiteX1" fmla="*/ 63998 w 615136"/>
              <a:gd name="connsiteY1" fmla="*/ 2353 h 316698"/>
              <a:gd name="connsiteX2" fmla="*/ 110993 w 615136"/>
              <a:gd name="connsiteY2" fmla="*/ 885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50313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5136"/>
              <a:gd name="connsiteY0" fmla="*/ 0 h 316698"/>
              <a:gd name="connsiteX1" fmla="*/ 58266 w 615136"/>
              <a:gd name="connsiteY1" fmla="*/ 4263 h 316698"/>
              <a:gd name="connsiteX2" fmla="*/ 110993 w 615136"/>
              <a:gd name="connsiteY2" fmla="*/ 885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50313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5136"/>
              <a:gd name="connsiteY0" fmla="*/ 1469 h 312435"/>
              <a:gd name="connsiteX1" fmla="*/ 58266 w 615136"/>
              <a:gd name="connsiteY1" fmla="*/ 0 h 312435"/>
              <a:gd name="connsiteX2" fmla="*/ 110993 w 615136"/>
              <a:gd name="connsiteY2" fmla="*/ 4590 h 312435"/>
              <a:gd name="connsiteX3" fmla="*/ 154195 w 615136"/>
              <a:gd name="connsiteY3" fmla="*/ 12198 h 312435"/>
              <a:gd name="connsiteX4" fmla="*/ 222289 w 615136"/>
              <a:gd name="connsiteY4" fmla="*/ 27336 h 312435"/>
              <a:gd name="connsiteX5" fmla="*/ 298331 w 615136"/>
              <a:gd name="connsiteY5" fmla="*/ 48554 h 312435"/>
              <a:gd name="connsiteX6" fmla="*/ 348670 w 615136"/>
              <a:gd name="connsiteY6" fmla="*/ 70135 h 312435"/>
              <a:gd name="connsiteX7" fmla="*/ 400743 w 615136"/>
              <a:gd name="connsiteY7" fmla="*/ 93786 h 312435"/>
              <a:gd name="connsiteX8" fmla="*/ 451718 w 615136"/>
              <a:gd name="connsiteY8" fmla="*/ 122831 h 312435"/>
              <a:gd name="connsiteX9" fmla="*/ 508885 w 615136"/>
              <a:gd name="connsiteY9" fmla="*/ 157750 h 312435"/>
              <a:gd name="connsiteX10" fmla="*/ 543510 w 615136"/>
              <a:gd name="connsiteY10" fmla="*/ 182195 h 312435"/>
              <a:gd name="connsiteX11" fmla="*/ 583852 w 615136"/>
              <a:gd name="connsiteY11" fmla="*/ 215847 h 312435"/>
              <a:gd name="connsiteX12" fmla="*/ 615136 w 615136"/>
              <a:gd name="connsiteY12" fmla="*/ 246050 h 312435"/>
              <a:gd name="connsiteX13" fmla="*/ 550513 w 615136"/>
              <a:gd name="connsiteY13" fmla="*/ 312435 h 312435"/>
              <a:gd name="connsiteX14" fmla="*/ 506352 w 615136"/>
              <a:gd name="connsiteY14" fmla="*/ 269026 h 312435"/>
              <a:gd name="connsiteX15" fmla="*/ 450710 w 615136"/>
              <a:gd name="connsiteY15" fmla="*/ 231326 h 312435"/>
              <a:gd name="connsiteX16" fmla="*/ 383046 w 615136"/>
              <a:gd name="connsiteY16" fmla="*/ 192265 h 312435"/>
              <a:gd name="connsiteX17" fmla="*/ 330658 w 615136"/>
              <a:gd name="connsiteY17" fmla="*/ 166071 h 312435"/>
              <a:gd name="connsiteX18" fmla="*/ 260175 w 615136"/>
              <a:gd name="connsiteY18" fmla="*/ 139558 h 312435"/>
              <a:gd name="connsiteX19" fmla="*/ 207026 w 615136"/>
              <a:gd name="connsiteY19" fmla="*/ 116383 h 312435"/>
              <a:gd name="connsiteX20" fmla="*/ 137798 w 615136"/>
              <a:gd name="connsiteY20" fmla="*/ 106230 h 312435"/>
              <a:gd name="connsiteX21" fmla="*/ 73325 w 615136"/>
              <a:gd name="connsiteY21" fmla="*/ 95279 h 312435"/>
              <a:gd name="connsiteX22" fmla="*/ 540 w 615136"/>
              <a:gd name="connsiteY22" fmla="*/ 93561 h 312435"/>
              <a:gd name="connsiteX23" fmla="*/ 0 w 615136"/>
              <a:gd name="connsiteY23" fmla="*/ 1469 h 312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15136" h="312435">
                <a:moveTo>
                  <a:pt x="0" y="1469"/>
                </a:moveTo>
                <a:lnTo>
                  <a:pt x="58266" y="0"/>
                </a:lnTo>
                <a:lnTo>
                  <a:pt x="110993" y="4590"/>
                </a:lnTo>
                <a:lnTo>
                  <a:pt x="154195" y="12198"/>
                </a:lnTo>
                <a:lnTo>
                  <a:pt x="222289" y="27336"/>
                </a:lnTo>
                <a:lnTo>
                  <a:pt x="298331" y="48554"/>
                </a:lnTo>
                <a:lnTo>
                  <a:pt x="348670" y="70135"/>
                </a:lnTo>
                <a:lnTo>
                  <a:pt x="400743" y="93786"/>
                </a:lnTo>
                <a:lnTo>
                  <a:pt x="451718" y="122831"/>
                </a:lnTo>
                <a:lnTo>
                  <a:pt x="508885" y="157750"/>
                </a:lnTo>
                <a:lnTo>
                  <a:pt x="543510" y="182195"/>
                </a:lnTo>
                <a:lnTo>
                  <a:pt x="583852" y="215847"/>
                </a:lnTo>
                <a:lnTo>
                  <a:pt x="615136" y="246050"/>
                </a:lnTo>
                <a:lnTo>
                  <a:pt x="550513" y="312435"/>
                </a:lnTo>
                <a:lnTo>
                  <a:pt x="506352" y="269026"/>
                </a:lnTo>
                <a:lnTo>
                  <a:pt x="450710" y="231326"/>
                </a:lnTo>
                <a:cubicBezTo>
                  <a:pt x="429279" y="216642"/>
                  <a:pt x="403055" y="203141"/>
                  <a:pt x="383046" y="192265"/>
                </a:cubicBezTo>
                <a:cubicBezTo>
                  <a:pt x="363037" y="181389"/>
                  <a:pt x="350899" y="174008"/>
                  <a:pt x="330658" y="166071"/>
                </a:cubicBezTo>
                <a:cubicBezTo>
                  <a:pt x="307639" y="158927"/>
                  <a:pt x="283194" y="146702"/>
                  <a:pt x="260175" y="139558"/>
                </a:cubicBezTo>
                <a:lnTo>
                  <a:pt x="207026" y="116383"/>
                </a:lnTo>
                <a:lnTo>
                  <a:pt x="137798" y="106230"/>
                </a:lnTo>
                <a:lnTo>
                  <a:pt x="73325" y="95279"/>
                </a:lnTo>
                <a:lnTo>
                  <a:pt x="540" y="93561"/>
                </a:lnTo>
                <a:cubicBezTo>
                  <a:pt x="-1047" y="-38769"/>
                  <a:pt x="1587" y="133799"/>
                  <a:pt x="0" y="1469"/>
                </a:cubicBezTo>
                <a:close/>
              </a:path>
            </a:pathLst>
          </a:cu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1" name="Прямоугольник 21"/>
          <p:cNvSpPr/>
          <p:nvPr/>
        </p:nvSpPr>
        <p:spPr>
          <a:xfrm rot="2776382">
            <a:off x="2105844" y="3177712"/>
            <a:ext cx="766727" cy="389429"/>
          </a:xfrm>
          <a:custGeom>
            <a:avLst/>
            <a:gdLst>
              <a:gd name="connsiteX0" fmla="*/ 0 w 865598"/>
              <a:gd name="connsiteY0" fmla="*/ 0 h 627970"/>
              <a:gd name="connsiteX1" fmla="*/ 865598 w 865598"/>
              <a:gd name="connsiteY1" fmla="*/ 0 h 627970"/>
              <a:gd name="connsiteX2" fmla="*/ 865598 w 865598"/>
              <a:gd name="connsiteY2" fmla="*/ 627970 h 627970"/>
              <a:gd name="connsiteX3" fmla="*/ 0 w 865598"/>
              <a:gd name="connsiteY3" fmla="*/ 627970 h 627970"/>
              <a:gd name="connsiteX4" fmla="*/ 0 w 865598"/>
              <a:gd name="connsiteY4" fmla="*/ 0 h 627970"/>
              <a:gd name="connsiteX0" fmla="*/ 0 w 865598"/>
              <a:gd name="connsiteY0" fmla="*/ 0 h 627970"/>
              <a:gd name="connsiteX1" fmla="*/ 865598 w 865598"/>
              <a:gd name="connsiteY1" fmla="*/ 0 h 627970"/>
              <a:gd name="connsiteX2" fmla="*/ 865598 w 865598"/>
              <a:gd name="connsiteY2" fmla="*/ 627970 h 627970"/>
              <a:gd name="connsiteX3" fmla="*/ 4762 w 865598"/>
              <a:gd name="connsiteY3" fmla="*/ 396989 h 627970"/>
              <a:gd name="connsiteX4" fmla="*/ 0 w 865598"/>
              <a:gd name="connsiteY4" fmla="*/ 0 h 627970"/>
              <a:gd name="connsiteX0" fmla="*/ 0 w 865598"/>
              <a:gd name="connsiteY0" fmla="*/ 0 h 632732"/>
              <a:gd name="connsiteX1" fmla="*/ 865598 w 865598"/>
              <a:gd name="connsiteY1" fmla="*/ 0 h 632732"/>
              <a:gd name="connsiteX2" fmla="*/ 582229 w 865598"/>
              <a:gd name="connsiteY2" fmla="*/ 632732 h 632732"/>
              <a:gd name="connsiteX3" fmla="*/ 4762 w 865598"/>
              <a:gd name="connsiteY3" fmla="*/ 396989 h 632732"/>
              <a:gd name="connsiteX4" fmla="*/ 0 w 865598"/>
              <a:gd name="connsiteY4" fmla="*/ 0 h 632732"/>
              <a:gd name="connsiteX0" fmla="*/ 0 w 870361"/>
              <a:gd name="connsiteY0" fmla="*/ 0 h 632732"/>
              <a:gd name="connsiteX1" fmla="*/ 870361 w 870361"/>
              <a:gd name="connsiteY1" fmla="*/ 359569 h 632732"/>
              <a:gd name="connsiteX2" fmla="*/ 582229 w 870361"/>
              <a:gd name="connsiteY2" fmla="*/ 632732 h 632732"/>
              <a:gd name="connsiteX3" fmla="*/ 4762 w 870361"/>
              <a:gd name="connsiteY3" fmla="*/ 396989 h 632732"/>
              <a:gd name="connsiteX4" fmla="*/ 0 w 870361"/>
              <a:gd name="connsiteY4" fmla="*/ 0 h 632732"/>
              <a:gd name="connsiteX0" fmla="*/ 0 w 863217"/>
              <a:gd name="connsiteY0" fmla="*/ 0 h 632732"/>
              <a:gd name="connsiteX1" fmla="*/ 863217 w 863217"/>
              <a:gd name="connsiteY1" fmla="*/ 350044 h 632732"/>
              <a:gd name="connsiteX2" fmla="*/ 582229 w 863217"/>
              <a:gd name="connsiteY2" fmla="*/ 632732 h 632732"/>
              <a:gd name="connsiteX3" fmla="*/ 4762 w 863217"/>
              <a:gd name="connsiteY3" fmla="*/ 396989 h 632732"/>
              <a:gd name="connsiteX4" fmla="*/ 0 w 863217"/>
              <a:gd name="connsiteY4" fmla="*/ 0 h 632732"/>
              <a:gd name="connsiteX0" fmla="*/ 0 w 867979"/>
              <a:gd name="connsiteY0" fmla="*/ 0 h 632732"/>
              <a:gd name="connsiteX1" fmla="*/ 867979 w 867979"/>
              <a:gd name="connsiteY1" fmla="*/ 361951 h 632732"/>
              <a:gd name="connsiteX2" fmla="*/ 582229 w 867979"/>
              <a:gd name="connsiteY2" fmla="*/ 632732 h 632732"/>
              <a:gd name="connsiteX3" fmla="*/ 4762 w 867979"/>
              <a:gd name="connsiteY3" fmla="*/ 396989 h 632732"/>
              <a:gd name="connsiteX4" fmla="*/ 0 w 867979"/>
              <a:gd name="connsiteY4" fmla="*/ 0 h 632732"/>
              <a:gd name="connsiteX0" fmla="*/ 0 w 867979"/>
              <a:gd name="connsiteY0" fmla="*/ 0 h 642257"/>
              <a:gd name="connsiteX1" fmla="*/ 867979 w 867979"/>
              <a:gd name="connsiteY1" fmla="*/ 361951 h 642257"/>
              <a:gd name="connsiteX2" fmla="*/ 594135 w 867979"/>
              <a:gd name="connsiteY2" fmla="*/ 642257 h 642257"/>
              <a:gd name="connsiteX3" fmla="*/ 4762 w 867979"/>
              <a:gd name="connsiteY3" fmla="*/ 396989 h 642257"/>
              <a:gd name="connsiteX4" fmla="*/ 0 w 867979"/>
              <a:gd name="connsiteY4" fmla="*/ 0 h 642257"/>
              <a:gd name="connsiteX0" fmla="*/ 0 w 867979"/>
              <a:gd name="connsiteY0" fmla="*/ 0 h 637494"/>
              <a:gd name="connsiteX1" fmla="*/ 867979 w 867979"/>
              <a:gd name="connsiteY1" fmla="*/ 361951 h 637494"/>
              <a:gd name="connsiteX2" fmla="*/ 591754 w 867979"/>
              <a:gd name="connsiteY2" fmla="*/ 637494 h 637494"/>
              <a:gd name="connsiteX3" fmla="*/ 4762 w 867979"/>
              <a:gd name="connsiteY3" fmla="*/ 396989 h 637494"/>
              <a:gd name="connsiteX4" fmla="*/ 0 w 867979"/>
              <a:gd name="connsiteY4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458 w 868438"/>
              <a:gd name="connsiteY3" fmla="*/ 392227 h 637494"/>
              <a:gd name="connsiteX4" fmla="*/ 459 w 868438"/>
              <a:gd name="connsiteY4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193875 w 868438"/>
              <a:gd name="connsiteY3" fmla="*/ 472048 h 637494"/>
              <a:gd name="connsiteX4" fmla="*/ 458 w 868438"/>
              <a:gd name="connsiteY4" fmla="*/ 392227 h 637494"/>
              <a:gd name="connsiteX5" fmla="*/ 459 w 868438"/>
              <a:gd name="connsiteY5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74813 w 868438"/>
              <a:gd name="connsiteY3" fmla="*/ 398230 h 637494"/>
              <a:gd name="connsiteX4" fmla="*/ 458 w 868438"/>
              <a:gd name="connsiteY4" fmla="*/ 392227 h 637494"/>
              <a:gd name="connsiteX5" fmla="*/ 459 w 868438"/>
              <a:gd name="connsiteY5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293888 w 868438"/>
              <a:gd name="connsiteY3" fmla="*/ 495860 h 637494"/>
              <a:gd name="connsiteX4" fmla="*/ 74813 w 868438"/>
              <a:gd name="connsiteY4" fmla="*/ 398230 h 637494"/>
              <a:gd name="connsiteX5" fmla="*/ 458 w 868438"/>
              <a:gd name="connsiteY5" fmla="*/ 392227 h 637494"/>
              <a:gd name="connsiteX6" fmla="*/ 459 w 868438"/>
              <a:gd name="connsiteY6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131963 w 868438"/>
              <a:gd name="connsiteY3" fmla="*/ 405373 h 637494"/>
              <a:gd name="connsiteX4" fmla="*/ 74813 w 868438"/>
              <a:gd name="connsiteY4" fmla="*/ 398230 h 637494"/>
              <a:gd name="connsiteX5" fmla="*/ 458 w 868438"/>
              <a:gd name="connsiteY5" fmla="*/ 392227 h 637494"/>
              <a:gd name="connsiteX6" fmla="*/ 459 w 868438"/>
              <a:gd name="connsiteY6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343894 w 868438"/>
              <a:gd name="connsiteY3" fmla="*/ 517291 h 637494"/>
              <a:gd name="connsiteX4" fmla="*/ 131963 w 868438"/>
              <a:gd name="connsiteY4" fmla="*/ 405373 h 637494"/>
              <a:gd name="connsiteX5" fmla="*/ 74813 w 868438"/>
              <a:gd name="connsiteY5" fmla="*/ 398230 h 637494"/>
              <a:gd name="connsiteX6" fmla="*/ 458 w 868438"/>
              <a:gd name="connsiteY6" fmla="*/ 392227 h 637494"/>
              <a:gd name="connsiteX7" fmla="*/ 459 w 868438"/>
              <a:gd name="connsiteY7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201019 w 868438"/>
              <a:gd name="connsiteY3" fmla="*/ 419659 h 637494"/>
              <a:gd name="connsiteX4" fmla="*/ 131963 w 868438"/>
              <a:gd name="connsiteY4" fmla="*/ 405373 h 637494"/>
              <a:gd name="connsiteX5" fmla="*/ 74813 w 868438"/>
              <a:gd name="connsiteY5" fmla="*/ 398230 h 637494"/>
              <a:gd name="connsiteX6" fmla="*/ 458 w 868438"/>
              <a:gd name="connsiteY6" fmla="*/ 392227 h 637494"/>
              <a:gd name="connsiteX7" fmla="*/ 459 w 868438"/>
              <a:gd name="connsiteY7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334369 w 868438"/>
              <a:gd name="connsiteY3" fmla="*/ 467285 h 637494"/>
              <a:gd name="connsiteX4" fmla="*/ 201019 w 868438"/>
              <a:gd name="connsiteY4" fmla="*/ 419659 h 637494"/>
              <a:gd name="connsiteX5" fmla="*/ 131963 w 868438"/>
              <a:gd name="connsiteY5" fmla="*/ 405373 h 637494"/>
              <a:gd name="connsiteX6" fmla="*/ 74813 w 868438"/>
              <a:gd name="connsiteY6" fmla="*/ 398230 h 637494"/>
              <a:gd name="connsiteX7" fmla="*/ 458 w 868438"/>
              <a:gd name="connsiteY7" fmla="*/ 392227 h 637494"/>
              <a:gd name="connsiteX8" fmla="*/ 459 w 868438"/>
              <a:gd name="connsiteY8" fmla="*/ 0 h 637494"/>
              <a:gd name="connsiteX0" fmla="*/ 459 w 868438"/>
              <a:gd name="connsiteY0" fmla="*/ 0 h 642205"/>
              <a:gd name="connsiteX1" fmla="*/ 868438 w 868438"/>
              <a:gd name="connsiteY1" fmla="*/ 361951 h 642205"/>
              <a:gd name="connsiteX2" fmla="*/ 592213 w 868438"/>
              <a:gd name="connsiteY2" fmla="*/ 637494 h 642205"/>
              <a:gd name="connsiteX3" fmla="*/ 451050 w 868438"/>
              <a:gd name="connsiteY3" fmla="*/ 524435 h 642205"/>
              <a:gd name="connsiteX4" fmla="*/ 334369 w 868438"/>
              <a:gd name="connsiteY4" fmla="*/ 467285 h 642205"/>
              <a:gd name="connsiteX5" fmla="*/ 201019 w 868438"/>
              <a:gd name="connsiteY5" fmla="*/ 419659 h 642205"/>
              <a:gd name="connsiteX6" fmla="*/ 131963 w 868438"/>
              <a:gd name="connsiteY6" fmla="*/ 405373 h 642205"/>
              <a:gd name="connsiteX7" fmla="*/ 74813 w 868438"/>
              <a:gd name="connsiteY7" fmla="*/ 398230 h 642205"/>
              <a:gd name="connsiteX8" fmla="*/ 458 w 868438"/>
              <a:gd name="connsiteY8" fmla="*/ 392227 h 642205"/>
              <a:gd name="connsiteX9" fmla="*/ 459 w 868438"/>
              <a:gd name="connsiteY9" fmla="*/ 0 h 642205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451050 w 868438"/>
              <a:gd name="connsiteY3" fmla="*/ 524435 h 637494"/>
              <a:gd name="connsiteX4" fmla="*/ 334369 w 868438"/>
              <a:gd name="connsiteY4" fmla="*/ 467285 h 637494"/>
              <a:gd name="connsiteX5" fmla="*/ 201019 w 868438"/>
              <a:gd name="connsiteY5" fmla="*/ 419659 h 637494"/>
              <a:gd name="connsiteX6" fmla="*/ 131963 w 868438"/>
              <a:gd name="connsiteY6" fmla="*/ 405373 h 637494"/>
              <a:gd name="connsiteX7" fmla="*/ 74813 w 868438"/>
              <a:gd name="connsiteY7" fmla="*/ 398230 h 637494"/>
              <a:gd name="connsiteX8" fmla="*/ 458 w 868438"/>
              <a:gd name="connsiteY8" fmla="*/ 392227 h 637494"/>
              <a:gd name="connsiteX9" fmla="*/ 459 w 868438"/>
              <a:gd name="connsiteY9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51050 w 868438"/>
              <a:gd name="connsiteY4" fmla="*/ 524435 h 637494"/>
              <a:gd name="connsiteX5" fmla="*/ 334369 w 868438"/>
              <a:gd name="connsiteY5" fmla="*/ 467285 h 637494"/>
              <a:gd name="connsiteX6" fmla="*/ 201019 w 868438"/>
              <a:gd name="connsiteY6" fmla="*/ 419659 h 637494"/>
              <a:gd name="connsiteX7" fmla="*/ 131963 w 868438"/>
              <a:gd name="connsiteY7" fmla="*/ 405373 h 637494"/>
              <a:gd name="connsiteX8" fmla="*/ 74813 w 868438"/>
              <a:gd name="connsiteY8" fmla="*/ 398230 h 637494"/>
              <a:gd name="connsiteX9" fmla="*/ 458 w 868438"/>
              <a:gd name="connsiteY9" fmla="*/ 392227 h 637494"/>
              <a:gd name="connsiteX10" fmla="*/ 459 w 868438"/>
              <a:gd name="connsiteY10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51050 w 868438"/>
              <a:gd name="connsiteY4" fmla="*/ 524435 h 637494"/>
              <a:gd name="connsiteX5" fmla="*/ 386757 w 868438"/>
              <a:gd name="connsiteY5" fmla="*/ 493479 h 637494"/>
              <a:gd name="connsiteX6" fmla="*/ 334369 w 868438"/>
              <a:gd name="connsiteY6" fmla="*/ 467285 h 637494"/>
              <a:gd name="connsiteX7" fmla="*/ 201019 w 868438"/>
              <a:gd name="connsiteY7" fmla="*/ 419659 h 637494"/>
              <a:gd name="connsiteX8" fmla="*/ 131963 w 868438"/>
              <a:gd name="connsiteY8" fmla="*/ 405373 h 637494"/>
              <a:gd name="connsiteX9" fmla="*/ 74813 w 868438"/>
              <a:gd name="connsiteY9" fmla="*/ 398230 h 637494"/>
              <a:gd name="connsiteX10" fmla="*/ 458 w 868438"/>
              <a:gd name="connsiteY10" fmla="*/ 392227 h 637494"/>
              <a:gd name="connsiteX11" fmla="*/ 459 w 868438"/>
              <a:gd name="connsiteY11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51050 w 868438"/>
              <a:gd name="connsiteY4" fmla="*/ 524435 h 637494"/>
              <a:gd name="connsiteX5" fmla="*/ 386757 w 868438"/>
              <a:gd name="connsiteY5" fmla="*/ 493479 h 637494"/>
              <a:gd name="connsiteX6" fmla="*/ 334369 w 868438"/>
              <a:gd name="connsiteY6" fmla="*/ 467285 h 637494"/>
              <a:gd name="connsiteX7" fmla="*/ 267694 w 868438"/>
              <a:gd name="connsiteY7" fmla="*/ 441091 h 637494"/>
              <a:gd name="connsiteX8" fmla="*/ 201019 w 868438"/>
              <a:gd name="connsiteY8" fmla="*/ 419659 h 637494"/>
              <a:gd name="connsiteX9" fmla="*/ 131963 w 868438"/>
              <a:gd name="connsiteY9" fmla="*/ 405373 h 637494"/>
              <a:gd name="connsiteX10" fmla="*/ 74813 w 868438"/>
              <a:gd name="connsiteY10" fmla="*/ 398230 h 637494"/>
              <a:gd name="connsiteX11" fmla="*/ 458 w 868438"/>
              <a:gd name="connsiteY11" fmla="*/ 392227 h 637494"/>
              <a:gd name="connsiteX12" fmla="*/ 459 w 868438"/>
              <a:gd name="connsiteY12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48669 w 868438"/>
              <a:gd name="connsiteY4" fmla="*/ 529197 h 637494"/>
              <a:gd name="connsiteX5" fmla="*/ 386757 w 868438"/>
              <a:gd name="connsiteY5" fmla="*/ 493479 h 637494"/>
              <a:gd name="connsiteX6" fmla="*/ 334369 w 868438"/>
              <a:gd name="connsiteY6" fmla="*/ 467285 h 637494"/>
              <a:gd name="connsiteX7" fmla="*/ 267694 w 868438"/>
              <a:gd name="connsiteY7" fmla="*/ 441091 h 637494"/>
              <a:gd name="connsiteX8" fmla="*/ 201019 w 868438"/>
              <a:gd name="connsiteY8" fmla="*/ 419659 h 637494"/>
              <a:gd name="connsiteX9" fmla="*/ 131963 w 868438"/>
              <a:gd name="connsiteY9" fmla="*/ 405373 h 637494"/>
              <a:gd name="connsiteX10" fmla="*/ 74813 w 868438"/>
              <a:gd name="connsiteY10" fmla="*/ 398230 h 637494"/>
              <a:gd name="connsiteX11" fmla="*/ 458 w 868438"/>
              <a:gd name="connsiteY11" fmla="*/ 392227 h 637494"/>
              <a:gd name="connsiteX12" fmla="*/ 459 w 868438"/>
              <a:gd name="connsiteY1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868438 w 868438"/>
              <a:gd name="connsiteY2" fmla="*/ 361951 h 637494"/>
              <a:gd name="connsiteX3" fmla="*/ 592213 w 868438"/>
              <a:gd name="connsiteY3" fmla="*/ 637494 h 637494"/>
              <a:gd name="connsiteX4" fmla="*/ 522488 w 868438"/>
              <a:gd name="connsiteY4" fmla="*/ 581585 h 637494"/>
              <a:gd name="connsiteX5" fmla="*/ 448669 w 868438"/>
              <a:gd name="connsiteY5" fmla="*/ 529197 h 637494"/>
              <a:gd name="connsiteX6" fmla="*/ 386757 w 868438"/>
              <a:gd name="connsiteY6" fmla="*/ 493479 h 637494"/>
              <a:gd name="connsiteX7" fmla="*/ 334369 w 868438"/>
              <a:gd name="connsiteY7" fmla="*/ 467285 h 637494"/>
              <a:gd name="connsiteX8" fmla="*/ 267694 w 868438"/>
              <a:gd name="connsiteY8" fmla="*/ 441091 h 637494"/>
              <a:gd name="connsiteX9" fmla="*/ 201019 w 868438"/>
              <a:gd name="connsiteY9" fmla="*/ 419659 h 637494"/>
              <a:gd name="connsiteX10" fmla="*/ 131963 w 868438"/>
              <a:gd name="connsiteY10" fmla="*/ 405373 h 637494"/>
              <a:gd name="connsiteX11" fmla="*/ 74813 w 868438"/>
              <a:gd name="connsiteY11" fmla="*/ 398230 h 637494"/>
              <a:gd name="connsiteX12" fmla="*/ 458 w 868438"/>
              <a:gd name="connsiteY12" fmla="*/ 392227 h 637494"/>
              <a:gd name="connsiteX13" fmla="*/ 459 w 868438"/>
              <a:gd name="connsiteY13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868438 w 868438"/>
              <a:gd name="connsiteY3" fmla="*/ 361951 h 637494"/>
              <a:gd name="connsiteX4" fmla="*/ 592213 w 868438"/>
              <a:gd name="connsiteY4" fmla="*/ 637494 h 637494"/>
              <a:gd name="connsiteX5" fmla="*/ 522488 w 868438"/>
              <a:gd name="connsiteY5" fmla="*/ 581585 h 637494"/>
              <a:gd name="connsiteX6" fmla="*/ 448669 w 868438"/>
              <a:gd name="connsiteY6" fmla="*/ 529197 h 637494"/>
              <a:gd name="connsiteX7" fmla="*/ 386757 w 868438"/>
              <a:gd name="connsiteY7" fmla="*/ 493479 h 637494"/>
              <a:gd name="connsiteX8" fmla="*/ 334369 w 868438"/>
              <a:gd name="connsiteY8" fmla="*/ 467285 h 637494"/>
              <a:gd name="connsiteX9" fmla="*/ 267694 w 868438"/>
              <a:gd name="connsiteY9" fmla="*/ 441091 h 637494"/>
              <a:gd name="connsiteX10" fmla="*/ 201019 w 868438"/>
              <a:gd name="connsiteY10" fmla="*/ 419659 h 637494"/>
              <a:gd name="connsiteX11" fmla="*/ 131963 w 868438"/>
              <a:gd name="connsiteY11" fmla="*/ 405373 h 637494"/>
              <a:gd name="connsiteX12" fmla="*/ 74813 w 868438"/>
              <a:gd name="connsiteY12" fmla="*/ 398230 h 637494"/>
              <a:gd name="connsiteX13" fmla="*/ 458 w 868438"/>
              <a:gd name="connsiteY13" fmla="*/ 392227 h 637494"/>
              <a:gd name="connsiteX14" fmla="*/ 459 w 868438"/>
              <a:gd name="connsiteY14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868438 w 868438"/>
              <a:gd name="connsiteY5" fmla="*/ 361951 h 637494"/>
              <a:gd name="connsiteX6" fmla="*/ 592213 w 868438"/>
              <a:gd name="connsiteY6" fmla="*/ 637494 h 637494"/>
              <a:gd name="connsiteX7" fmla="*/ 522488 w 868438"/>
              <a:gd name="connsiteY7" fmla="*/ 581585 h 637494"/>
              <a:gd name="connsiteX8" fmla="*/ 448669 w 868438"/>
              <a:gd name="connsiteY8" fmla="*/ 529197 h 637494"/>
              <a:gd name="connsiteX9" fmla="*/ 386757 w 868438"/>
              <a:gd name="connsiteY9" fmla="*/ 493479 h 637494"/>
              <a:gd name="connsiteX10" fmla="*/ 334369 w 868438"/>
              <a:gd name="connsiteY10" fmla="*/ 467285 h 637494"/>
              <a:gd name="connsiteX11" fmla="*/ 267694 w 868438"/>
              <a:gd name="connsiteY11" fmla="*/ 441091 h 637494"/>
              <a:gd name="connsiteX12" fmla="*/ 201019 w 868438"/>
              <a:gd name="connsiteY12" fmla="*/ 419659 h 637494"/>
              <a:gd name="connsiteX13" fmla="*/ 131963 w 868438"/>
              <a:gd name="connsiteY13" fmla="*/ 405373 h 637494"/>
              <a:gd name="connsiteX14" fmla="*/ 74813 w 868438"/>
              <a:gd name="connsiteY14" fmla="*/ 398230 h 637494"/>
              <a:gd name="connsiteX15" fmla="*/ 458 w 868438"/>
              <a:gd name="connsiteY15" fmla="*/ 392227 h 637494"/>
              <a:gd name="connsiteX16" fmla="*/ 459 w 868438"/>
              <a:gd name="connsiteY16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868438 w 868438"/>
              <a:gd name="connsiteY6" fmla="*/ 361951 h 637494"/>
              <a:gd name="connsiteX7" fmla="*/ 592213 w 868438"/>
              <a:gd name="connsiteY7" fmla="*/ 637494 h 637494"/>
              <a:gd name="connsiteX8" fmla="*/ 522488 w 868438"/>
              <a:gd name="connsiteY8" fmla="*/ 581585 h 637494"/>
              <a:gd name="connsiteX9" fmla="*/ 448669 w 868438"/>
              <a:gd name="connsiteY9" fmla="*/ 529197 h 637494"/>
              <a:gd name="connsiteX10" fmla="*/ 386757 w 868438"/>
              <a:gd name="connsiteY10" fmla="*/ 493479 h 637494"/>
              <a:gd name="connsiteX11" fmla="*/ 334369 w 868438"/>
              <a:gd name="connsiteY11" fmla="*/ 467285 h 637494"/>
              <a:gd name="connsiteX12" fmla="*/ 267694 w 868438"/>
              <a:gd name="connsiteY12" fmla="*/ 441091 h 637494"/>
              <a:gd name="connsiteX13" fmla="*/ 201019 w 868438"/>
              <a:gd name="connsiteY13" fmla="*/ 419659 h 637494"/>
              <a:gd name="connsiteX14" fmla="*/ 131963 w 868438"/>
              <a:gd name="connsiteY14" fmla="*/ 405373 h 637494"/>
              <a:gd name="connsiteX15" fmla="*/ 74813 w 868438"/>
              <a:gd name="connsiteY15" fmla="*/ 398230 h 637494"/>
              <a:gd name="connsiteX16" fmla="*/ 458 w 868438"/>
              <a:gd name="connsiteY16" fmla="*/ 392227 h 637494"/>
              <a:gd name="connsiteX17" fmla="*/ 459 w 868438"/>
              <a:gd name="connsiteY17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868438 w 868438"/>
              <a:gd name="connsiteY7" fmla="*/ 361951 h 637494"/>
              <a:gd name="connsiteX8" fmla="*/ 592213 w 868438"/>
              <a:gd name="connsiteY8" fmla="*/ 637494 h 637494"/>
              <a:gd name="connsiteX9" fmla="*/ 522488 w 868438"/>
              <a:gd name="connsiteY9" fmla="*/ 581585 h 637494"/>
              <a:gd name="connsiteX10" fmla="*/ 448669 w 868438"/>
              <a:gd name="connsiteY10" fmla="*/ 529197 h 637494"/>
              <a:gd name="connsiteX11" fmla="*/ 386757 w 868438"/>
              <a:gd name="connsiteY11" fmla="*/ 493479 h 637494"/>
              <a:gd name="connsiteX12" fmla="*/ 334369 w 868438"/>
              <a:gd name="connsiteY12" fmla="*/ 467285 h 637494"/>
              <a:gd name="connsiteX13" fmla="*/ 267694 w 868438"/>
              <a:gd name="connsiteY13" fmla="*/ 441091 h 637494"/>
              <a:gd name="connsiteX14" fmla="*/ 201019 w 868438"/>
              <a:gd name="connsiteY14" fmla="*/ 419659 h 637494"/>
              <a:gd name="connsiteX15" fmla="*/ 131963 w 868438"/>
              <a:gd name="connsiteY15" fmla="*/ 405373 h 637494"/>
              <a:gd name="connsiteX16" fmla="*/ 74813 w 868438"/>
              <a:gd name="connsiteY16" fmla="*/ 398230 h 637494"/>
              <a:gd name="connsiteX17" fmla="*/ 458 w 868438"/>
              <a:gd name="connsiteY17" fmla="*/ 392227 h 637494"/>
              <a:gd name="connsiteX18" fmla="*/ 459 w 868438"/>
              <a:gd name="connsiteY18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868438 w 868438"/>
              <a:gd name="connsiteY8" fmla="*/ 361951 h 637494"/>
              <a:gd name="connsiteX9" fmla="*/ 592213 w 868438"/>
              <a:gd name="connsiteY9" fmla="*/ 637494 h 637494"/>
              <a:gd name="connsiteX10" fmla="*/ 522488 w 868438"/>
              <a:gd name="connsiteY10" fmla="*/ 581585 h 637494"/>
              <a:gd name="connsiteX11" fmla="*/ 448669 w 868438"/>
              <a:gd name="connsiteY11" fmla="*/ 529197 h 637494"/>
              <a:gd name="connsiteX12" fmla="*/ 386757 w 868438"/>
              <a:gd name="connsiteY12" fmla="*/ 493479 h 637494"/>
              <a:gd name="connsiteX13" fmla="*/ 334369 w 868438"/>
              <a:gd name="connsiteY13" fmla="*/ 467285 h 637494"/>
              <a:gd name="connsiteX14" fmla="*/ 267694 w 868438"/>
              <a:gd name="connsiteY14" fmla="*/ 441091 h 637494"/>
              <a:gd name="connsiteX15" fmla="*/ 201019 w 868438"/>
              <a:gd name="connsiteY15" fmla="*/ 419659 h 637494"/>
              <a:gd name="connsiteX16" fmla="*/ 131963 w 868438"/>
              <a:gd name="connsiteY16" fmla="*/ 405373 h 637494"/>
              <a:gd name="connsiteX17" fmla="*/ 74813 w 868438"/>
              <a:gd name="connsiteY17" fmla="*/ 398230 h 637494"/>
              <a:gd name="connsiteX18" fmla="*/ 458 w 868438"/>
              <a:gd name="connsiteY18" fmla="*/ 392227 h 637494"/>
              <a:gd name="connsiteX19" fmla="*/ 459 w 868438"/>
              <a:gd name="connsiteY19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868438 w 868438"/>
              <a:gd name="connsiteY9" fmla="*/ 361951 h 637494"/>
              <a:gd name="connsiteX10" fmla="*/ 592213 w 868438"/>
              <a:gd name="connsiteY10" fmla="*/ 637494 h 637494"/>
              <a:gd name="connsiteX11" fmla="*/ 522488 w 868438"/>
              <a:gd name="connsiteY11" fmla="*/ 581585 h 637494"/>
              <a:gd name="connsiteX12" fmla="*/ 448669 w 868438"/>
              <a:gd name="connsiteY12" fmla="*/ 529197 h 637494"/>
              <a:gd name="connsiteX13" fmla="*/ 386757 w 868438"/>
              <a:gd name="connsiteY13" fmla="*/ 493479 h 637494"/>
              <a:gd name="connsiteX14" fmla="*/ 334369 w 868438"/>
              <a:gd name="connsiteY14" fmla="*/ 467285 h 637494"/>
              <a:gd name="connsiteX15" fmla="*/ 267694 w 868438"/>
              <a:gd name="connsiteY15" fmla="*/ 441091 h 637494"/>
              <a:gd name="connsiteX16" fmla="*/ 201019 w 868438"/>
              <a:gd name="connsiteY16" fmla="*/ 419659 h 637494"/>
              <a:gd name="connsiteX17" fmla="*/ 131963 w 868438"/>
              <a:gd name="connsiteY17" fmla="*/ 405373 h 637494"/>
              <a:gd name="connsiteX18" fmla="*/ 74813 w 868438"/>
              <a:gd name="connsiteY18" fmla="*/ 398230 h 637494"/>
              <a:gd name="connsiteX19" fmla="*/ 458 w 868438"/>
              <a:gd name="connsiteY19" fmla="*/ 392227 h 637494"/>
              <a:gd name="connsiteX20" fmla="*/ 459 w 868438"/>
              <a:gd name="connsiteY20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868438 w 868438"/>
              <a:gd name="connsiteY10" fmla="*/ 361951 h 637494"/>
              <a:gd name="connsiteX11" fmla="*/ 592213 w 868438"/>
              <a:gd name="connsiteY11" fmla="*/ 637494 h 637494"/>
              <a:gd name="connsiteX12" fmla="*/ 522488 w 868438"/>
              <a:gd name="connsiteY12" fmla="*/ 581585 h 637494"/>
              <a:gd name="connsiteX13" fmla="*/ 448669 w 868438"/>
              <a:gd name="connsiteY13" fmla="*/ 529197 h 637494"/>
              <a:gd name="connsiteX14" fmla="*/ 386757 w 868438"/>
              <a:gd name="connsiteY14" fmla="*/ 493479 h 637494"/>
              <a:gd name="connsiteX15" fmla="*/ 334369 w 868438"/>
              <a:gd name="connsiteY15" fmla="*/ 467285 h 637494"/>
              <a:gd name="connsiteX16" fmla="*/ 267694 w 868438"/>
              <a:gd name="connsiteY16" fmla="*/ 441091 h 637494"/>
              <a:gd name="connsiteX17" fmla="*/ 201019 w 868438"/>
              <a:gd name="connsiteY17" fmla="*/ 419659 h 637494"/>
              <a:gd name="connsiteX18" fmla="*/ 131963 w 868438"/>
              <a:gd name="connsiteY18" fmla="*/ 405373 h 637494"/>
              <a:gd name="connsiteX19" fmla="*/ 74813 w 868438"/>
              <a:gd name="connsiteY19" fmla="*/ 398230 h 637494"/>
              <a:gd name="connsiteX20" fmla="*/ 458 w 868438"/>
              <a:gd name="connsiteY20" fmla="*/ 392227 h 637494"/>
              <a:gd name="connsiteX21" fmla="*/ 459 w 868438"/>
              <a:gd name="connsiteY21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5332 w 868438"/>
              <a:gd name="connsiteY6" fmla="*/ 79141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5332 w 868438"/>
              <a:gd name="connsiteY6" fmla="*/ 79141 h 637494"/>
              <a:gd name="connsiteX7" fmla="*/ 477244 w 868438"/>
              <a:gd name="connsiteY7" fmla="*/ 98191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46301 w 868438"/>
              <a:gd name="connsiteY8" fmla="*/ 136291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3444 w 868438"/>
              <a:gd name="connsiteY8" fmla="*/ 126766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3444 w 868438"/>
              <a:gd name="connsiteY8" fmla="*/ 126766 h 637494"/>
              <a:gd name="connsiteX9" fmla="*/ 636788 w 868438"/>
              <a:gd name="connsiteY9" fmla="*/ 179154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6788 w 868438"/>
              <a:gd name="connsiteY9" fmla="*/ 179154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6788 w 868438"/>
              <a:gd name="connsiteY9" fmla="*/ 179154 h 637494"/>
              <a:gd name="connsiteX10" fmla="*/ 753469 w 868438"/>
              <a:gd name="connsiteY10" fmla="*/ 252973 h 637494"/>
              <a:gd name="connsiteX11" fmla="*/ 810619 w 868438"/>
              <a:gd name="connsiteY11" fmla="*/ 307741 h 637494"/>
              <a:gd name="connsiteX12" fmla="*/ 868438 w 868438"/>
              <a:gd name="connsiteY12" fmla="*/ 361951 h 637494"/>
              <a:gd name="connsiteX13" fmla="*/ 592213 w 868438"/>
              <a:gd name="connsiteY13" fmla="*/ 637494 h 637494"/>
              <a:gd name="connsiteX14" fmla="*/ 522488 w 868438"/>
              <a:gd name="connsiteY14" fmla="*/ 581585 h 637494"/>
              <a:gd name="connsiteX15" fmla="*/ 448669 w 868438"/>
              <a:gd name="connsiteY15" fmla="*/ 529197 h 637494"/>
              <a:gd name="connsiteX16" fmla="*/ 386757 w 868438"/>
              <a:gd name="connsiteY16" fmla="*/ 493479 h 637494"/>
              <a:gd name="connsiteX17" fmla="*/ 334369 w 868438"/>
              <a:gd name="connsiteY17" fmla="*/ 467285 h 637494"/>
              <a:gd name="connsiteX18" fmla="*/ 267694 w 868438"/>
              <a:gd name="connsiteY18" fmla="*/ 441091 h 637494"/>
              <a:gd name="connsiteX19" fmla="*/ 201019 w 868438"/>
              <a:gd name="connsiteY19" fmla="*/ 419659 h 637494"/>
              <a:gd name="connsiteX20" fmla="*/ 131963 w 868438"/>
              <a:gd name="connsiteY20" fmla="*/ 405373 h 637494"/>
              <a:gd name="connsiteX21" fmla="*/ 74813 w 868438"/>
              <a:gd name="connsiteY21" fmla="*/ 398230 h 637494"/>
              <a:gd name="connsiteX22" fmla="*/ 458 w 868438"/>
              <a:gd name="connsiteY22" fmla="*/ 392227 h 637494"/>
              <a:gd name="connsiteX23" fmla="*/ 459 w 868438"/>
              <a:gd name="connsiteY23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6788 w 868438"/>
              <a:gd name="connsiteY9" fmla="*/ 179154 h 637494"/>
              <a:gd name="connsiteX10" fmla="*/ 689175 w 868438"/>
              <a:gd name="connsiteY10" fmla="*/ 207729 h 637494"/>
              <a:gd name="connsiteX11" fmla="*/ 753469 w 868438"/>
              <a:gd name="connsiteY11" fmla="*/ 252973 h 637494"/>
              <a:gd name="connsiteX12" fmla="*/ 810619 w 868438"/>
              <a:gd name="connsiteY12" fmla="*/ 307741 h 637494"/>
              <a:gd name="connsiteX13" fmla="*/ 868438 w 868438"/>
              <a:gd name="connsiteY13" fmla="*/ 361951 h 637494"/>
              <a:gd name="connsiteX14" fmla="*/ 592213 w 868438"/>
              <a:gd name="connsiteY14" fmla="*/ 637494 h 637494"/>
              <a:gd name="connsiteX15" fmla="*/ 522488 w 868438"/>
              <a:gd name="connsiteY15" fmla="*/ 581585 h 637494"/>
              <a:gd name="connsiteX16" fmla="*/ 448669 w 868438"/>
              <a:gd name="connsiteY16" fmla="*/ 529197 h 637494"/>
              <a:gd name="connsiteX17" fmla="*/ 386757 w 868438"/>
              <a:gd name="connsiteY17" fmla="*/ 493479 h 637494"/>
              <a:gd name="connsiteX18" fmla="*/ 334369 w 868438"/>
              <a:gd name="connsiteY18" fmla="*/ 467285 h 637494"/>
              <a:gd name="connsiteX19" fmla="*/ 267694 w 868438"/>
              <a:gd name="connsiteY19" fmla="*/ 441091 h 637494"/>
              <a:gd name="connsiteX20" fmla="*/ 201019 w 868438"/>
              <a:gd name="connsiteY20" fmla="*/ 419659 h 637494"/>
              <a:gd name="connsiteX21" fmla="*/ 131963 w 868438"/>
              <a:gd name="connsiteY21" fmla="*/ 405373 h 637494"/>
              <a:gd name="connsiteX22" fmla="*/ 74813 w 868438"/>
              <a:gd name="connsiteY22" fmla="*/ 398230 h 637494"/>
              <a:gd name="connsiteX23" fmla="*/ 458 w 868438"/>
              <a:gd name="connsiteY23" fmla="*/ 392227 h 637494"/>
              <a:gd name="connsiteX24" fmla="*/ 459 w 868438"/>
              <a:gd name="connsiteY24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4407 w 868438"/>
              <a:gd name="connsiteY9" fmla="*/ 172011 h 637494"/>
              <a:gd name="connsiteX10" fmla="*/ 689175 w 868438"/>
              <a:gd name="connsiteY10" fmla="*/ 207729 h 637494"/>
              <a:gd name="connsiteX11" fmla="*/ 753469 w 868438"/>
              <a:gd name="connsiteY11" fmla="*/ 252973 h 637494"/>
              <a:gd name="connsiteX12" fmla="*/ 810619 w 868438"/>
              <a:gd name="connsiteY12" fmla="*/ 307741 h 637494"/>
              <a:gd name="connsiteX13" fmla="*/ 868438 w 868438"/>
              <a:gd name="connsiteY13" fmla="*/ 361951 h 637494"/>
              <a:gd name="connsiteX14" fmla="*/ 592213 w 868438"/>
              <a:gd name="connsiteY14" fmla="*/ 637494 h 637494"/>
              <a:gd name="connsiteX15" fmla="*/ 522488 w 868438"/>
              <a:gd name="connsiteY15" fmla="*/ 581585 h 637494"/>
              <a:gd name="connsiteX16" fmla="*/ 448669 w 868438"/>
              <a:gd name="connsiteY16" fmla="*/ 529197 h 637494"/>
              <a:gd name="connsiteX17" fmla="*/ 386757 w 868438"/>
              <a:gd name="connsiteY17" fmla="*/ 493479 h 637494"/>
              <a:gd name="connsiteX18" fmla="*/ 334369 w 868438"/>
              <a:gd name="connsiteY18" fmla="*/ 467285 h 637494"/>
              <a:gd name="connsiteX19" fmla="*/ 267694 w 868438"/>
              <a:gd name="connsiteY19" fmla="*/ 441091 h 637494"/>
              <a:gd name="connsiteX20" fmla="*/ 201019 w 868438"/>
              <a:gd name="connsiteY20" fmla="*/ 419659 h 637494"/>
              <a:gd name="connsiteX21" fmla="*/ 131963 w 868438"/>
              <a:gd name="connsiteY21" fmla="*/ 405373 h 637494"/>
              <a:gd name="connsiteX22" fmla="*/ 74813 w 868438"/>
              <a:gd name="connsiteY22" fmla="*/ 398230 h 637494"/>
              <a:gd name="connsiteX23" fmla="*/ 458 w 868438"/>
              <a:gd name="connsiteY23" fmla="*/ 392227 h 637494"/>
              <a:gd name="connsiteX24" fmla="*/ 459 w 868438"/>
              <a:gd name="connsiteY24" fmla="*/ 0 h 637494"/>
              <a:gd name="connsiteX0" fmla="*/ 0 w 869784"/>
              <a:gd name="connsiteY0" fmla="*/ 262751 h 634553"/>
              <a:gd name="connsiteX1" fmla="*/ 78540 w 869784"/>
              <a:gd name="connsiteY1" fmla="*/ 0 h 634553"/>
              <a:gd name="connsiteX2" fmla="*/ 152359 w 869784"/>
              <a:gd name="connsiteY2" fmla="*/ 4763 h 634553"/>
              <a:gd name="connsiteX3" fmla="*/ 216653 w 869784"/>
              <a:gd name="connsiteY3" fmla="*/ 14288 h 634553"/>
              <a:gd name="connsiteX4" fmla="*/ 269040 w 869784"/>
              <a:gd name="connsiteY4" fmla="*/ 26194 h 634553"/>
              <a:gd name="connsiteX5" fmla="*/ 347621 w 869784"/>
              <a:gd name="connsiteY5" fmla="*/ 47625 h 634553"/>
              <a:gd name="connsiteX6" fmla="*/ 419060 w 869784"/>
              <a:gd name="connsiteY6" fmla="*/ 69056 h 634553"/>
              <a:gd name="connsiteX7" fmla="*/ 478590 w 869784"/>
              <a:gd name="connsiteY7" fmla="*/ 95250 h 634553"/>
              <a:gd name="connsiteX8" fmla="*/ 552409 w 869784"/>
              <a:gd name="connsiteY8" fmla="*/ 126207 h 634553"/>
              <a:gd name="connsiteX9" fmla="*/ 635753 w 869784"/>
              <a:gd name="connsiteY9" fmla="*/ 169070 h 634553"/>
              <a:gd name="connsiteX10" fmla="*/ 690521 w 869784"/>
              <a:gd name="connsiteY10" fmla="*/ 204788 h 634553"/>
              <a:gd name="connsiteX11" fmla="*/ 754815 w 869784"/>
              <a:gd name="connsiteY11" fmla="*/ 250032 h 634553"/>
              <a:gd name="connsiteX12" fmla="*/ 811965 w 869784"/>
              <a:gd name="connsiteY12" fmla="*/ 304800 h 634553"/>
              <a:gd name="connsiteX13" fmla="*/ 869784 w 869784"/>
              <a:gd name="connsiteY13" fmla="*/ 359010 h 634553"/>
              <a:gd name="connsiteX14" fmla="*/ 593559 w 869784"/>
              <a:gd name="connsiteY14" fmla="*/ 634553 h 634553"/>
              <a:gd name="connsiteX15" fmla="*/ 523834 w 869784"/>
              <a:gd name="connsiteY15" fmla="*/ 578644 h 634553"/>
              <a:gd name="connsiteX16" fmla="*/ 450015 w 869784"/>
              <a:gd name="connsiteY16" fmla="*/ 526256 h 634553"/>
              <a:gd name="connsiteX17" fmla="*/ 388103 w 869784"/>
              <a:gd name="connsiteY17" fmla="*/ 490538 h 634553"/>
              <a:gd name="connsiteX18" fmla="*/ 335715 w 869784"/>
              <a:gd name="connsiteY18" fmla="*/ 464344 h 634553"/>
              <a:gd name="connsiteX19" fmla="*/ 269040 w 869784"/>
              <a:gd name="connsiteY19" fmla="*/ 438150 h 634553"/>
              <a:gd name="connsiteX20" fmla="*/ 202365 w 869784"/>
              <a:gd name="connsiteY20" fmla="*/ 416718 h 634553"/>
              <a:gd name="connsiteX21" fmla="*/ 133309 w 869784"/>
              <a:gd name="connsiteY21" fmla="*/ 402432 h 634553"/>
              <a:gd name="connsiteX22" fmla="*/ 76159 w 869784"/>
              <a:gd name="connsiteY22" fmla="*/ 395289 h 634553"/>
              <a:gd name="connsiteX23" fmla="*/ 1804 w 869784"/>
              <a:gd name="connsiteY23" fmla="*/ 389286 h 634553"/>
              <a:gd name="connsiteX24" fmla="*/ 0 w 869784"/>
              <a:gd name="connsiteY24" fmla="*/ 262751 h 634553"/>
              <a:gd name="connsiteX0" fmla="*/ 0 w 811965"/>
              <a:gd name="connsiteY0" fmla="*/ 262751 h 634553"/>
              <a:gd name="connsiteX1" fmla="*/ 78540 w 811965"/>
              <a:gd name="connsiteY1" fmla="*/ 0 h 634553"/>
              <a:gd name="connsiteX2" fmla="*/ 152359 w 811965"/>
              <a:gd name="connsiteY2" fmla="*/ 4763 h 634553"/>
              <a:gd name="connsiteX3" fmla="*/ 216653 w 811965"/>
              <a:gd name="connsiteY3" fmla="*/ 14288 h 634553"/>
              <a:gd name="connsiteX4" fmla="*/ 269040 w 811965"/>
              <a:gd name="connsiteY4" fmla="*/ 26194 h 634553"/>
              <a:gd name="connsiteX5" fmla="*/ 347621 w 811965"/>
              <a:gd name="connsiteY5" fmla="*/ 47625 h 634553"/>
              <a:gd name="connsiteX6" fmla="*/ 419060 w 811965"/>
              <a:gd name="connsiteY6" fmla="*/ 69056 h 634553"/>
              <a:gd name="connsiteX7" fmla="*/ 478590 w 811965"/>
              <a:gd name="connsiteY7" fmla="*/ 95250 h 634553"/>
              <a:gd name="connsiteX8" fmla="*/ 552409 w 811965"/>
              <a:gd name="connsiteY8" fmla="*/ 126207 h 634553"/>
              <a:gd name="connsiteX9" fmla="*/ 635753 w 811965"/>
              <a:gd name="connsiteY9" fmla="*/ 169070 h 634553"/>
              <a:gd name="connsiteX10" fmla="*/ 690521 w 811965"/>
              <a:gd name="connsiteY10" fmla="*/ 204788 h 634553"/>
              <a:gd name="connsiteX11" fmla="*/ 754815 w 811965"/>
              <a:gd name="connsiteY11" fmla="*/ 250032 h 634553"/>
              <a:gd name="connsiteX12" fmla="*/ 811965 w 811965"/>
              <a:gd name="connsiteY12" fmla="*/ 304800 h 634553"/>
              <a:gd name="connsiteX13" fmla="*/ 671274 w 811965"/>
              <a:gd name="connsiteY13" fmla="*/ 562214 h 634553"/>
              <a:gd name="connsiteX14" fmla="*/ 593559 w 811965"/>
              <a:gd name="connsiteY14" fmla="*/ 634553 h 634553"/>
              <a:gd name="connsiteX15" fmla="*/ 523834 w 811965"/>
              <a:gd name="connsiteY15" fmla="*/ 578644 h 634553"/>
              <a:gd name="connsiteX16" fmla="*/ 450015 w 811965"/>
              <a:gd name="connsiteY16" fmla="*/ 526256 h 634553"/>
              <a:gd name="connsiteX17" fmla="*/ 388103 w 811965"/>
              <a:gd name="connsiteY17" fmla="*/ 490538 h 634553"/>
              <a:gd name="connsiteX18" fmla="*/ 335715 w 811965"/>
              <a:gd name="connsiteY18" fmla="*/ 464344 h 634553"/>
              <a:gd name="connsiteX19" fmla="*/ 269040 w 811965"/>
              <a:gd name="connsiteY19" fmla="*/ 438150 h 634553"/>
              <a:gd name="connsiteX20" fmla="*/ 202365 w 811965"/>
              <a:gd name="connsiteY20" fmla="*/ 416718 h 634553"/>
              <a:gd name="connsiteX21" fmla="*/ 133309 w 811965"/>
              <a:gd name="connsiteY21" fmla="*/ 402432 h 634553"/>
              <a:gd name="connsiteX22" fmla="*/ 76159 w 811965"/>
              <a:gd name="connsiteY22" fmla="*/ 395289 h 634553"/>
              <a:gd name="connsiteX23" fmla="*/ 1804 w 811965"/>
              <a:gd name="connsiteY23" fmla="*/ 389286 h 634553"/>
              <a:gd name="connsiteX24" fmla="*/ 0 w 811965"/>
              <a:gd name="connsiteY24" fmla="*/ 262751 h 634553"/>
              <a:gd name="connsiteX0" fmla="*/ 0 w 756053"/>
              <a:gd name="connsiteY0" fmla="*/ 262751 h 634553"/>
              <a:gd name="connsiteX1" fmla="*/ 78540 w 756053"/>
              <a:gd name="connsiteY1" fmla="*/ 0 h 634553"/>
              <a:gd name="connsiteX2" fmla="*/ 152359 w 756053"/>
              <a:gd name="connsiteY2" fmla="*/ 4763 h 634553"/>
              <a:gd name="connsiteX3" fmla="*/ 216653 w 756053"/>
              <a:gd name="connsiteY3" fmla="*/ 14288 h 634553"/>
              <a:gd name="connsiteX4" fmla="*/ 269040 w 756053"/>
              <a:gd name="connsiteY4" fmla="*/ 26194 h 634553"/>
              <a:gd name="connsiteX5" fmla="*/ 347621 w 756053"/>
              <a:gd name="connsiteY5" fmla="*/ 47625 h 634553"/>
              <a:gd name="connsiteX6" fmla="*/ 419060 w 756053"/>
              <a:gd name="connsiteY6" fmla="*/ 69056 h 634553"/>
              <a:gd name="connsiteX7" fmla="*/ 478590 w 756053"/>
              <a:gd name="connsiteY7" fmla="*/ 95250 h 634553"/>
              <a:gd name="connsiteX8" fmla="*/ 552409 w 756053"/>
              <a:gd name="connsiteY8" fmla="*/ 126207 h 634553"/>
              <a:gd name="connsiteX9" fmla="*/ 635753 w 756053"/>
              <a:gd name="connsiteY9" fmla="*/ 169070 h 634553"/>
              <a:gd name="connsiteX10" fmla="*/ 690521 w 756053"/>
              <a:gd name="connsiteY10" fmla="*/ 204788 h 634553"/>
              <a:gd name="connsiteX11" fmla="*/ 754815 w 756053"/>
              <a:gd name="connsiteY11" fmla="*/ 250032 h 634553"/>
              <a:gd name="connsiteX12" fmla="*/ 616419 w 756053"/>
              <a:gd name="connsiteY12" fmla="*/ 503140 h 634553"/>
              <a:gd name="connsiteX13" fmla="*/ 671274 w 756053"/>
              <a:gd name="connsiteY13" fmla="*/ 562214 h 634553"/>
              <a:gd name="connsiteX14" fmla="*/ 593559 w 756053"/>
              <a:gd name="connsiteY14" fmla="*/ 634553 h 634553"/>
              <a:gd name="connsiteX15" fmla="*/ 523834 w 756053"/>
              <a:gd name="connsiteY15" fmla="*/ 578644 h 634553"/>
              <a:gd name="connsiteX16" fmla="*/ 450015 w 756053"/>
              <a:gd name="connsiteY16" fmla="*/ 526256 h 634553"/>
              <a:gd name="connsiteX17" fmla="*/ 388103 w 756053"/>
              <a:gd name="connsiteY17" fmla="*/ 490538 h 634553"/>
              <a:gd name="connsiteX18" fmla="*/ 335715 w 756053"/>
              <a:gd name="connsiteY18" fmla="*/ 464344 h 634553"/>
              <a:gd name="connsiteX19" fmla="*/ 269040 w 756053"/>
              <a:gd name="connsiteY19" fmla="*/ 438150 h 634553"/>
              <a:gd name="connsiteX20" fmla="*/ 202365 w 756053"/>
              <a:gd name="connsiteY20" fmla="*/ 416718 h 634553"/>
              <a:gd name="connsiteX21" fmla="*/ 133309 w 756053"/>
              <a:gd name="connsiteY21" fmla="*/ 402432 h 634553"/>
              <a:gd name="connsiteX22" fmla="*/ 76159 w 756053"/>
              <a:gd name="connsiteY22" fmla="*/ 395289 h 634553"/>
              <a:gd name="connsiteX23" fmla="*/ 1804 w 756053"/>
              <a:gd name="connsiteY23" fmla="*/ 389286 h 634553"/>
              <a:gd name="connsiteX24" fmla="*/ 0 w 756053"/>
              <a:gd name="connsiteY24" fmla="*/ 262751 h 634553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23834 w 756053"/>
              <a:gd name="connsiteY15" fmla="*/ 578644 h 654010"/>
              <a:gd name="connsiteX16" fmla="*/ 450015 w 756053"/>
              <a:gd name="connsiteY16" fmla="*/ 526256 h 654010"/>
              <a:gd name="connsiteX17" fmla="*/ 388103 w 756053"/>
              <a:gd name="connsiteY17" fmla="*/ 490538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50015 w 756053"/>
              <a:gd name="connsiteY16" fmla="*/ 526256 h 654010"/>
              <a:gd name="connsiteX17" fmla="*/ 388103 w 756053"/>
              <a:gd name="connsiteY17" fmla="*/ 490538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8103 w 756053"/>
              <a:gd name="connsiteY17" fmla="*/ 490538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27598 w 756053"/>
              <a:gd name="connsiteY21" fmla="*/ 401954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27598 w 756053"/>
              <a:gd name="connsiteY21" fmla="*/ 401954 h 654010"/>
              <a:gd name="connsiteX22" fmla="*/ 70767 w 756053"/>
              <a:gd name="connsiteY22" fmla="*/ 391004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54609 w 756053"/>
              <a:gd name="connsiteY13" fmla="*/ 578072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27598 w 756053"/>
              <a:gd name="connsiteY21" fmla="*/ 401954 h 654010"/>
              <a:gd name="connsiteX22" fmla="*/ 70767 w 756053"/>
              <a:gd name="connsiteY22" fmla="*/ 391004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26"/>
              <a:gd name="connsiteY0" fmla="*/ 262751 h 654010"/>
              <a:gd name="connsiteX1" fmla="*/ 78540 w 756026"/>
              <a:gd name="connsiteY1" fmla="*/ 0 h 654010"/>
              <a:gd name="connsiteX2" fmla="*/ 152359 w 756026"/>
              <a:gd name="connsiteY2" fmla="*/ 4763 h 654010"/>
              <a:gd name="connsiteX3" fmla="*/ 216653 w 756026"/>
              <a:gd name="connsiteY3" fmla="*/ 14288 h 654010"/>
              <a:gd name="connsiteX4" fmla="*/ 269040 w 756026"/>
              <a:gd name="connsiteY4" fmla="*/ 26194 h 654010"/>
              <a:gd name="connsiteX5" fmla="*/ 347621 w 756026"/>
              <a:gd name="connsiteY5" fmla="*/ 47625 h 654010"/>
              <a:gd name="connsiteX6" fmla="*/ 419060 w 756026"/>
              <a:gd name="connsiteY6" fmla="*/ 69056 h 654010"/>
              <a:gd name="connsiteX7" fmla="*/ 478590 w 756026"/>
              <a:gd name="connsiteY7" fmla="*/ 95250 h 654010"/>
              <a:gd name="connsiteX8" fmla="*/ 552409 w 756026"/>
              <a:gd name="connsiteY8" fmla="*/ 126207 h 654010"/>
              <a:gd name="connsiteX9" fmla="*/ 635753 w 756026"/>
              <a:gd name="connsiteY9" fmla="*/ 169070 h 654010"/>
              <a:gd name="connsiteX10" fmla="*/ 690521 w 756026"/>
              <a:gd name="connsiteY10" fmla="*/ 204788 h 654010"/>
              <a:gd name="connsiteX11" fmla="*/ 754815 w 756026"/>
              <a:gd name="connsiteY11" fmla="*/ 250032 h 654010"/>
              <a:gd name="connsiteX12" fmla="*/ 612282 w 756026"/>
              <a:gd name="connsiteY12" fmla="*/ 529634 h 654010"/>
              <a:gd name="connsiteX13" fmla="*/ 654609 w 756026"/>
              <a:gd name="connsiteY13" fmla="*/ 578072 h 654010"/>
              <a:gd name="connsiteX14" fmla="*/ 581706 w 756026"/>
              <a:gd name="connsiteY14" fmla="*/ 654010 h 654010"/>
              <a:gd name="connsiteX15" fmla="*/ 517167 w 756026"/>
              <a:gd name="connsiteY15" fmla="*/ 589588 h 654010"/>
              <a:gd name="connsiteX16" fmla="*/ 436689 w 756026"/>
              <a:gd name="connsiteY16" fmla="*/ 525140 h 654010"/>
              <a:gd name="connsiteX17" fmla="*/ 380488 w 756026"/>
              <a:gd name="connsiteY17" fmla="*/ 489900 h 654010"/>
              <a:gd name="connsiteX18" fmla="*/ 328100 w 756026"/>
              <a:gd name="connsiteY18" fmla="*/ 463706 h 654010"/>
              <a:gd name="connsiteX19" fmla="*/ 257617 w 756026"/>
              <a:gd name="connsiteY19" fmla="*/ 437193 h 654010"/>
              <a:gd name="connsiteX20" fmla="*/ 193006 w 756026"/>
              <a:gd name="connsiteY20" fmla="*/ 414018 h 654010"/>
              <a:gd name="connsiteX21" fmla="*/ 127598 w 756026"/>
              <a:gd name="connsiteY21" fmla="*/ 401954 h 654010"/>
              <a:gd name="connsiteX22" fmla="*/ 70767 w 756026"/>
              <a:gd name="connsiteY22" fmla="*/ 391004 h 654010"/>
              <a:gd name="connsiteX23" fmla="*/ 1804 w 756026"/>
              <a:gd name="connsiteY23" fmla="*/ 389286 h 654010"/>
              <a:gd name="connsiteX24" fmla="*/ 0 w 756026"/>
              <a:gd name="connsiteY24" fmla="*/ 262751 h 654010"/>
              <a:gd name="connsiteX0" fmla="*/ 0 w 690521"/>
              <a:gd name="connsiteY0" fmla="*/ 262751 h 654010"/>
              <a:gd name="connsiteX1" fmla="*/ 78540 w 690521"/>
              <a:gd name="connsiteY1" fmla="*/ 0 h 654010"/>
              <a:gd name="connsiteX2" fmla="*/ 152359 w 690521"/>
              <a:gd name="connsiteY2" fmla="*/ 4763 h 654010"/>
              <a:gd name="connsiteX3" fmla="*/ 216653 w 690521"/>
              <a:gd name="connsiteY3" fmla="*/ 14288 h 654010"/>
              <a:gd name="connsiteX4" fmla="*/ 269040 w 690521"/>
              <a:gd name="connsiteY4" fmla="*/ 26194 h 654010"/>
              <a:gd name="connsiteX5" fmla="*/ 347621 w 690521"/>
              <a:gd name="connsiteY5" fmla="*/ 47625 h 654010"/>
              <a:gd name="connsiteX6" fmla="*/ 419060 w 690521"/>
              <a:gd name="connsiteY6" fmla="*/ 69056 h 654010"/>
              <a:gd name="connsiteX7" fmla="*/ 478590 w 690521"/>
              <a:gd name="connsiteY7" fmla="*/ 95250 h 654010"/>
              <a:gd name="connsiteX8" fmla="*/ 552409 w 690521"/>
              <a:gd name="connsiteY8" fmla="*/ 126207 h 654010"/>
              <a:gd name="connsiteX9" fmla="*/ 635753 w 690521"/>
              <a:gd name="connsiteY9" fmla="*/ 169070 h 654010"/>
              <a:gd name="connsiteX10" fmla="*/ 690521 w 690521"/>
              <a:gd name="connsiteY10" fmla="*/ 204788 h 654010"/>
              <a:gd name="connsiteX11" fmla="*/ 585420 w 690521"/>
              <a:gd name="connsiteY11" fmla="*/ 509993 h 654010"/>
              <a:gd name="connsiteX12" fmla="*/ 612282 w 690521"/>
              <a:gd name="connsiteY12" fmla="*/ 529634 h 654010"/>
              <a:gd name="connsiteX13" fmla="*/ 654609 w 690521"/>
              <a:gd name="connsiteY13" fmla="*/ 578072 h 654010"/>
              <a:gd name="connsiteX14" fmla="*/ 581706 w 690521"/>
              <a:gd name="connsiteY14" fmla="*/ 654010 h 654010"/>
              <a:gd name="connsiteX15" fmla="*/ 517167 w 690521"/>
              <a:gd name="connsiteY15" fmla="*/ 589588 h 654010"/>
              <a:gd name="connsiteX16" fmla="*/ 436689 w 690521"/>
              <a:gd name="connsiteY16" fmla="*/ 525140 h 654010"/>
              <a:gd name="connsiteX17" fmla="*/ 380488 w 690521"/>
              <a:gd name="connsiteY17" fmla="*/ 489900 h 654010"/>
              <a:gd name="connsiteX18" fmla="*/ 328100 w 690521"/>
              <a:gd name="connsiteY18" fmla="*/ 463706 h 654010"/>
              <a:gd name="connsiteX19" fmla="*/ 257617 w 690521"/>
              <a:gd name="connsiteY19" fmla="*/ 437193 h 654010"/>
              <a:gd name="connsiteX20" fmla="*/ 193006 w 690521"/>
              <a:gd name="connsiteY20" fmla="*/ 414018 h 654010"/>
              <a:gd name="connsiteX21" fmla="*/ 127598 w 690521"/>
              <a:gd name="connsiteY21" fmla="*/ 401954 h 654010"/>
              <a:gd name="connsiteX22" fmla="*/ 70767 w 690521"/>
              <a:gd name="connsiteY22" fmla="*/ 391004 h 654010"/>
              <a:gd name="connsiteX23" fmla="*/ 1804 w 690521"/>
              <a:gd name="connsiteY23" fmla="*/ 389286 h 654010"/>
              <a:gd name="connsiteX24" fmla="*/ 0 w 690521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478590 w 654609"/>
              <a:gd name="connsiteY7" fmla="*/ 95250 h 654010"/>
              <a:gd name="connsiteX8" fmla="*/ 552409 w 654609"/>
              <a:gd name="connsiteY8" fmla="*/ 126207 h 654010"/>
              <a:gd name="connsiteX9" fmla="*/ 635753 w 654609"/>
              <a:gd name="connsiteY9" fmla="*/ 169070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478590 w 654609"/>
              <a:gd name="connsiteY7" fmla="*/ 95250 h 654010"/>
              <a:gd name="connsiteX8" fmla="*/ 552409 w 654609"/>
              <a:gd name="connsiteY8" fmla="*/ 126207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478590 w 654609"/>
              <a:gd name="connsiteY7" fmla="*/ 95250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292643 w 654609"/>
              <a:gd name="connsiteY5" fmla="*/ 246235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292643 w 654609"/>
              <a:gd name="connsiteY5" fmla="*/ 246235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288636 w 654609"/>
              <a:gd name="connsiteY5" fmla="*/ 339839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193160 w 654609"/>
              <a:gd name="connsiteY3" fmla="*/ 42994 h 654010"/>
              <a:gd name="connsiteX4" fmla="*/ 269040 w 654609"/>
              <a:gd name="connsiteY4" fmla="*/ 26194 h 654010"/>
              <a:gd name="connsiteX5" fmla="*/ 288636 w 654609"/>
              <a:gd name="connsiteY5" fmla="*/ 339839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193160 w 654609"/>
              <a:gd name="connsiteY3" fmla="*/ 42994 h 654010"/>
              <a:gd name="connsiteX4" fmla="*/ 269040 w 654609"/>
              <a:gd name="connsiteY4" fmla="*/ 26194 h 654010"/>
              <a:gd name="connsiteX5" fmla="*/ 288636 w 654609"/>
              <a:gd name="connsiteY5" fmla="*/ 339839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2 h 654011"/>
              <a:gd name="connsiteX1" fmla="*/ 78540 w 654609"/>
              <a:gd name="connsiteY1" fmla="*/ 1 h 654011"/>
              <a:gd name="connsiteX2" fmla="*/ 89235 w 654609"/>
              <a:gd name="connsiteY2" fmla="*/ 206613 h 654011"/>
              <a:gd name="connsiteX3" fmla="*/ 152359 w 654609"/>
              <a:gd name="connsiteY3" fmla="*/ 4764 h 654011"/>
              <a:gd name="connsiteX4" fmla="*/ 193160 w 654609"/>
              <a:gd name="connsiteY4" fmla="*/ 42995 h 654011"/>
              <a:gd name="connsiteX5" fmla="*/ 269040 w 654609"/>
              <a:gd name="connsiteY5" fmla="*/ 26195 h 654011"/>
              <a:gd name="connsiteX6" fmla="*/ 288636 w 654609"/>
              <a:gd name="connsiteY6" fmla="*/ 339840 h 654011"/>
              <a:gd name="connsiteX7" fmla="*/ 343260 w 654609"/>
              <a:gd name="connsiteY7" fmla="*/ 356030 h 654011"/>
              <a:gd name="connsiteX8" fmla="*/ 394856 w 654609"/>
              <a:gd name="connsiteY8" fmla="*/ 385394 h 654011"/>
              <a:gd name="connsiteX9" fmla="*/ 448053 w 654609"/>
              <a:gd name="connsiteY9" fmla="*/ 410789 h 654011"/>
              <a:gd name="connsiteX10" fmla="*/ 501254 w 654609"/>
              <a:gd name="connsiteY10" fmla="*/ 447293 h 654011"/>
              <a:gd name="connsiteX11" fmla="*/ 546982 w 654609"/>
              <a:gd name="connsiteY11" fmla="*/ 476503 h 654011"/>
              <a:gd name="connsiteX12" fmla="*/ 585420 w 654609"/>
              <a:gd name="connsiteY12" fmla="*/ 509994 h 654011"/>
              <a:gd name="connsiteX13" fmla="*/ 612282 w 654609"/>
              <a:gd name="connsiteY13" fmla="*/ 529635 h 654011"/>
              <a:gd name="connsiteX14" fmla="*/ 654609 w 654609"/>
              <a:gd name="connsiteY14" fmla="*/ 578073 h 654011"/>
              <a:gd name="connsiteX15" fmla="*/ 581706 w 654609"/>
              <a:gd name="connsiteY15" fmla="*/ 654011 h 654011"/>
              <a:gd name="connsiteX16" fmla="*/ 517167 w 654609"/>
              <a:gd name="connsiteY16" fmla="*/ 589589 h 654011"/>
              <a:gd name="connsiteX17" fmla="*/ 436689 w 654609"/>
              <a:gd name="connsiteY17" fmla="*/ 525141 h 654011"/>
              <a:gd name="connsiteX18" fmla="*/ 380488 w 654609"/>
              <a:gd name="connsiteY18" fmla="*/ 489901 h 654011"/>
              <a:gd name="connsiteX19" fmla="*/ 328100 w 654609"/>
              <a:gd name="connsiteY19" fmla="*/ 463707 h 654011"/>
              <a:gd name="connsiteX20" fmla="*/ 257617 w 654609"/>
              <a:gd name="connsiteY20" fmla="*/ 437194 h 654011"/>
              <a:gd name="connsiteX21" fmla="*/ 193006 w 654609"/>
              <a:gd name="connsiteY21" fmla="*/ 414019 h 654011"/>
              <a:gd name="connsiteX22" fmla="*/ 127598 w 654609"/>
              <a:gd name="connsiteY22" fmla="*/ 401955 h 654011"/>
              <a:gd name="connsiteX23" fmla="*/ 70767 w 654609"/>
              <a:gd name="connsiteY23" fmla="*/ 391005 h 654011"/>
              <a:gd name="connsiteX24" fmla="*/ 1804 w 654609"/>
              <a:gd name="connsiteY24" fmla="*/ 389287 h 654011"/>
              <a:gd name="connsiteX25" fmla="*/ 0 w 654609"/>
              <a:gd name="connsiteY25" fmla="*/ 262752 h 654011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69040 w 654609"/>
              <a:gd name="connsiteY5" fmla="*/ 2143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18793 w 654609"/>
              <a:gd name="connsiteY5" fmla="*/ 28562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18793 w 654609"/>
              <a:gd name="connsiteY5" fmla="*/ 28562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01649 w 654609"/>
              <a:gd name="connsiteY5" fmla="*/ 30719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39268 w 654609"/>
              <a:gd name="connsiteY4" fmla="*/ 292532 h 649247"/>
              <a:gd name="connsiteX5" fmla="*/ 201649 w 654609"/>
              <a:gd name="connsiteY5" fmla="*/ 30719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57172 w 654609"/>
              <a:gd name="connsiteY1" fmla="*/ 250343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39268 w 654609"/>
              <a:gd name="connsiteY4" fmla="*/ 292532 h 649247"/>
              <a:gd name="connsiteX5" fmla="*/ 201649 w 654609"/>
              <a:gd name="connsiteY5" fmla="*/ 30719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56139 h 447398"/>
              <a:gd name="connsiteX1" fmla="*/ 57172 w 654609"/>
              <a:gd name="connsiteY1" fmla="*/ 48494 h 447398"/>
              <a:gd name="connsiteX2" fmla="*/ 89235 w 654609"/>
              <a:gd name="connsiteY2" fmla="*/ 0 h 447398"/>
              <a:gd name="connsiteX3" fmla="*/ 87981 w 654609"/>
              <a:gd name="connsiteY3" fmla="*/ 86080 h 447398"/>
              <a:gd name="connsiteX4" fmla="*/ 139268 w 654609"/>
              <a:gd name="connsiteY4" fmla="*/ 90683 h 447398"/>
              <a:gd name="connsiteX5" fmla="*/ 201649 w 654609"/>
              <a:gd name="connsiteY5" fmla="*/ 105342 h 447398"/>
              <a:gd name="connsiteX6" fmla="*/ 288636 w 654609"/>
              <a:gd name="connsiteY6" fmla="*/ 133227 h 447398"/>
              <a:gd name="connsiteX7" fmla="*/ 343260 w 654609"/>
              <a:gd name="connsiteY7" fmla="*/ 149417 h 447398"/>
              <a:gd name="connsiteX8" fmla="*/ 394856 w 654609"/>
              <a:gd name="connsiteY8" fmla="*/ 178781 h 447398"/>
              <a:gd name="connsiteX9" fmla="*/ 448053 w 654609"/>
              <a:gd name="connsiteY9" fmla="*/ 204176 h 447398"/>
              <a:gd name="connsiteX10" fmla="*/ 501254 w 654609"/>
              <a:gd name="connsiteY10" fmla="*/ 240680 h 447398"/>
              <a:gd name="connsiteX11" fmla="*/ 546982 w 654609"/>
              <a:gd name="connsiteY11" fmla="*/ 269890 h 447398"/>
              <a:gd name="connsiteX12" fmla="*/ 585420 w 654609"/>
              <a:gd name="connsiteY12" fmla="*/ 303381 h 447398"/>
              <a:gd name="connsiteX13" fmla="*/ 612282 w 654609"/>
              <a:gd name="connsiteY13" fmla="*/ 323022 h 447398"/>
              <a:gd name="connsiteX14" fmla="*/ 654609 w 654609"/>
              <a:gd name="connsiteY14" fmla="*/ 371460 h 447398"/>
              <a:gd name="connsiteX15" fmla="*/ 581706 w 654609"/>
              <a:gd name="connsiteY15" fmla="*/ 447398 h 447398"/>
              <a:gd name="connsiteX16" fmla="*/ 517167 w 654609"/>
              <a:gd name="connsiteY16" fmla="*/ 382976 h 447398"/>
              <a:gd name="connsiteX17" fmla="*/ 436689 w 654609"/>
              <a:gd name="connsiteY17" fmla="*/ 318528 h 447398"/>
              <a:gd name="connsiteX18" fmla="*/ 380488 w 654609"/>
              <a:gd name="connsiteY18" fmla="*/ 283288 h 447398"/>
              <a:gd name="connsiteX19" fmla="*/ 328100 w 654609"/>
              <a:gd name="connsiteY19" fmla="*/ 257094 h 447398"/>
              <a:gd name="connsiteX20" fmla="*/ 257617 w 654609"/>
              <a:gd name="connsiteY20" fmla="*/ 230581 h 447398"/>
              <a:gd name="connsiteX21" fmla="*/ 193006 w 654609"/>
              <a:gd name="connsiteY21" fmla="*/ 207406 h 447398"/>
              <a:gd name="connsiteX22" fmla="*/ 127598 w 654609"/>
              <a:gd name="connsiteY22" fmla="*/ 195342 h 447398"/>
              <a:gd name="connsiteX23" fmla="*/ 70767 w 654609"/>
              <a:gd name="connsiteY23" fmla="*/ 184392 h 447398"/>
              <a:gd name="connsiteX24" fmla="*/ 1804 w 654609"/>
              <a:gd name="connsiteY24" fmla="*/ 182674 h 447398"/>
              <a:gd name="connsiteX25" fmla="*/ 0 w 654609"/>
              <a:gd name="connsiteY25" fmla="*/ 56139 h 447398"/>
              <a:gd name="connsiteX0" fmla="*/ 0 w 654609"/>
              <a:gd name="connsiteY0" fmla="*/ 7653 h 398912"/>
              <a:gd name="connsiteX1" fmla="*/ 57172 w 654609"/>
              <a:gd name="connsiteY1" fmla="*/ 8 h 398912"/>
              <a:gd name="connsiteX2" fmla="*/ 57630 w 654609"/>
              <a:gd name="connsiteY2" fmla="*/ 31304 h 398912"/>
              <a:gd name="connsiteX3" fmla="*/ 87981 w 654609"/>
              <a:gd name="connsiteY3" fmla="*/ 37594 h 398912"/>
              <a:gd name="connsiteX4" fmla="*/ 139268 w 654609"/>
              <a:gd name="connsiteY4" fmla="*/ 42197 h 398912"/>
              <a:gd name="connsiteX5" fmla="*/ 201649 w 654609"/>
              <a:gd name="connsiteY5" fmla="*/ 56856 h 398912"/>
              <a:gd name="connsiteX6" fmla="*/ 288636 w 654609"/>
              <a:gd name="connsiteY6" fmla="*/ 84741 h 398912"/>
              <a:gd name="connsiteX7" fmla="*/ 343260 w 654609"/>
              <a:gd name="connsiteY7" fmla="*/ 100931 h 398912"/>
              <a:gd name="connsiteX8" fmla="*/ 394856 w 654609"/>
              <a:gd name="connsiteY8" fmla="*/ 130295 h 398912"/>
              <a:gd name="connsiteX9" fmla="*/ 448053 w 654609"/>
              <a:gd name="connsiteY9" fmla="*/ 155690 h 398912"/>
              <a:gd name="connsiteX10" fmla="*/ 501254 w 654609"/>
              <a:gd name="connsiteY10" fmla="*/ 192194 h 398912"/>
              <a:gd name="connsiteX11" fmla="*/ 546982 w 654609"/>
              <a:gd name="connsiteY11" fmla="*/ 221404 h 398912"/>
              <a:gd name="connsiteX12" fmla="*/ 585420 w 654609"/>
              <a:gd name="connsiteY12" fmla="*/ 254895 h 398912"/>
              <a:gd name="connsiteX13" fmla="*/ 612282 w 654609"/>
              <a:gd name="connsiteY13" fmla="*/ 274536 h 398912"/>
              <a:gd name="connsiteX14" fmla="*/ 654609 w 654609"/>
              <a:gd name="connsiteY14" fmla="*/ 322974 h 398912"/>
              <a:gd name="connsiteX15" fmla="*/ 581706 w 654609"/>
              <a:gd name="connsiteY15" fmla="*/ 398912 h 398912"/>
              <a:gd name="connsiteX16" fmla="*/ 517167 w 654609"/>
              <a:gd name="connsiteY16" fmla="*/ 334490 h 398912"/>
              <a:gd name="connsiteX17" fmla="*/ 436689 w 654609"/>
              <a:gd name="connsiteY17" fmla="*/ 270042 h 398912"/>
              <a:gd name="connsiteX18" fmla="*/ 380488 w 654609"/>
              <a:gd name="connsiteY18" fmla="*/ 234802 h 398912"/>
              <a:gd name="connsiteX19" fmla="*/ 328100 w 654609"/>
              <a:gd name="connsiteY19" fmla="*/ 208608 h 398912"/>
              <a:gd name="connsiteX20" fmla="*/ 257617 w 654609"/>
              <a:gd name="connsiteY20" fmla="*/ 182095 h 398912"/>
              <a:gd name="connsiteX21" fmla="*/ 193006 w 654609"/>
              <a:gd name="connsiteY21" fmla="*/ 158920 h 398912"/>
              <a:gd name="connsiteX22" fmla="*/ 127598 w 654609"/>
              <a:gd name="connsiteY22" fmla="*/ 146856 h 398912"/>
              <a:gd name="connsiteX23" fmla="*/ 70767 w 654609"/>
              <a:gd name="connsiteY23" fmla="*/ 135906 h 398912"/>
              <a:gd name="connsiteX24" fmla="*/ 1804 w 654609"/>
              <a:gd name="connsiteY24" fmla="*/ 134188 h 398912"/>
              <a:gd name="connsiteX25" fmla="*/ 0 w 654609"/>
              <a:gd name="connsiteY25" fmla="*/ 7653 h 398912"/>
              <a:gd name="connsiteX0" fmla="*/ 0 w 654609"/>
              <a:gd name="connsiteY0" fmla="*/ 0 h 391259"/>
              <a:gd name="connsiteX1" fmla="*/ 37009 w 654609"/>
              <a:gd name="connsiteY1" fmla="*/ 27092 h 391259"/>
              <a:gd name="connsiteX2" fmla="*/ 57630 w 654609"/>
              <a:gd name="connsiteY2" fmla="*/ 23651 h 391259"/>
              <a:gd name="connsiteX3" fmla="*/ 87981 w 654609"/>
              <a:gd name="connsiteY3" fmla="*/ 29941 h 391259"/>
              <a:gd name="connsiteX4" fmla="*/ 139268 w 654609"/>
              <a:gd name="connsiteY4" fmla="*/ 34544 h 391259"/>
              <a:gd name="connsiteX5" fmla="*/ 201649 w 654609"/>
              <a:gd name="connsiteY5" fmla="*/ 49203 h 391259"/>
              <a:gd name="connsiteX6" fmla="*/ 288636 w 654609"/>
              <a:gd name="connsiteY6" fmla="*/ 77088 h 391259"/>
              <a:gd name="connsiteX7" fmla="*/ 343260 w 654609"/>
              <a:gd name="connsiteY7" fmla="*/ 93278 h 391259"/>
              <a:gd name="connsiteX8" fmla="*/ 394856 w 654609"/>
              <a:gd name="connsiteY8" fmla="*/ 122642 h 391259"/>
              <a:gd name="connsiteX9" fmla="*/ 448053 w 654609"/>
              <a:gd name="connsiteY9" fmla="*/ 148037 h 391259"/>
              <a:gd name="connsiteX10" fmla="*/ 501254 w 654609"/>
              <a:gd name="connsiteY10" fmla="*/ 184541 h 391259"/>
              <a:gd name="connsiteX11" fmla="*/ 546982 w 654609"/>
              <a:gd name="connsiteY11" fmla="*/ 213751 h 391259"/>
              <a:gd name="connsiteX12" fmla="*/ 585420 w 654609"/>
              <a:gd name="connsiteY12" fmla="*/ 247242 h 391259"/>
              <a:gd name="connsiteX13" fmla="*/ 612282 w 654609"/>
              <a:gd name="connsiteY13" fmla="*/ 266883 h 391259"/>
              <a:gd name="connsiteX14" fmla="*/ 654609 w 654609"/>
              <a:gd name="connsiteY14" fmla="*/ 315321 h 391259"/>
              <a:gd name="connsiteX15" fmla="*/ 581706 w 654609"/>
              <a:gd name="connsiteY15" fmla="*/ 391259 h 391259"/>
              <a:gd name="connsiteX16" fmla="*/ 517167 w 654609"/>
              <a:gd name="connsiteY16" fmla="*/ 326837 h 391259"/>
              <a:gd name="connsiteX17" fmla="*/ 436689 w 654609"/>
              <a:gd name="connsiteY17" fmla="*/ 262389 h 391259"/>
              <a:gd name="connsiteX18" fmla="*/ 380488 w 654609"/>
              <a:gd name="connsiteY18" fmla="*/ 227149 h 391259"/>
              <a:gd name="connsiteX19" fmla="*/ 328100 w 654609"/>
              <a:gd name="connsiteY19" fmla="*/ 200955 h 391259"/>
              <a:gd name="connsiteX20" fmla="*/ 257617 w 654609"/>
              <a:gd name="connsiteY20" fmla="*/ 174442 h 391259"/>
              <a:gd name="connsiteX21" fmla="*/ 193006 w 654609"/>
              <a:gd name="connsiteY21" fmla="*/ 151267 h 391259"/>
              <a:gd name="connsiteX22" fmla="*/ 127598 w 654609"/>
              <a:gd name="connsiteY22" fmla="*/ 139203 h 391259"/>
              <a:gd name="connsiteX23" fmla="*/ 70767 w 654609"/>
              <a:gd name="connsiteY23" fmla="*/ 128253 h 391259"/>
              <a:gd name="connsiteX24" fmla="*/ 1804 w 654609"/>
              <a:gd name="connsiteY24" fmla="*/ 126535 h 391259"/>
              <a:gd name="connsiteX25" fmla="*/ 0 w 654609"/>
              <a:gd name="connsiteY25" fmla="*/ 0 h 391259"/>
              <a:gd name="connsiteX0" fmla="*/ 0 w 654619"/>
              <a:gd name="connsiteY0" fmla="*/ 0 h 368254"/>
              <a:gd name="connsiteX1" fmla="*/ 37019 w 654619"/>
              <a:gd name="connsiteY1" fmla="*/ 4087 h 368254"/>
              <a:gd name="connsiteX2" fmla="*/ 57640 w 654619"/>
              <a:gd name="connsiteY2" fmla="*/ 646 h 368254"/>
              <a:gd name="connsiteX3" fmla="*/ 87991 w 654619"/>
              <a:gd name="connsiteY3" fmla="*/ 6936 h 368254"/>
              <a:gd name="connsiteX4" fmla="*/ 139278 w 654619"/>
              <a:gd name="connsiteY4" fmla="*/ 11539 h 368254"/>
              <a:gd name="connsiteX5" fmla="*/ 201659 w 654619"/>
              <a:gd name="connsiteY5" fmla="*/ 26198 h 368254"/>
              <a:gd name="connsiteX6" fmla="*/ 288646 w 654619"/>
              <a:gd name="connsiteY6" fmla="*/ 54083 h 368254"/>
              <a:gd name="connsiteX7" fmla="*/ 343270 w 654619"/>
              <a:gd name="connsiteY7" fmla="*/ 70273 h 368254"/>
              <a:gd name="connsiteX8" fmla="*/ 394866 w 654619"/>
              <a:gd name="connsiteY8" fmla="*/ 99637 h 368254"/>
              <a:gd name="connsiteX9" fmla="*/ 448063 w 654619"/>
              <a:gd name="connsiteY9" fmla="*/ 125032 h 368254"/>
              <a:gd name="connsiteX10" fmla="*/ 501264 w 654619"/>
              <a:gd name="connsiteY10" fmla="*/ 161536 h 368254"/>
              <a:gd name="connsiteX11" fmla="*/ 546992 w 654619"/>
              <a:gd name="connsiteY11" fmla="*/ 190746 h 368254"/>
              <a:gd name="connsiteX12" fmla="*/ 585430 w 654619"/>
              <a:gd name="connsiteY12" fmla="*/ 224237 h 368254"/>
              <a:gd name="connsiteX13" fmla="*/ 612292 w 654619"/>
              <a:gd name="connsiteY13" fmla="*/ 243878 h 368254"/>
              <a:gd name="connsiteX14" fmla="*/ 654619 w 654619"/>
              <a:gd name="connsiteY14" fmla="*/ 292316 h 368254"/>
              <a:gd name="connsiteX15" fmla="*/ 581716 w 654619"/>
              <a:gd name="connsiteY15" fmla="*/ 368254 h 368254"/>
              <a:gd name="connsiteX16" fmla="*/ 517177 w 654619"/>
              <a:gd name="connsiteY16" fmla="*/ 303832 h 368254"/>
              <a:gd name="connsiteX17" fmla="*/ 436699 w 654619"/>
              <a:gd name="connsiteY17" fmla="*/ 239384 h 368254"/>
              <a:gd name="connsiteX18" fmla="*/ 380498 w 654619"/>
              <a:gd name="connsiteY18" fmla="*/ 204144 h 368254"/>
              <a:gd name="connsiteX19" fmla="*/ 328110 w 654619"/>
              <a:gd name="connsiteY19" fmla="*/ 177950 h 368254"/>
              <a:gd name="connsiteX20" fmla="*/ 257627 w 654619"/>
              <a:gd name="connsiteY20" fmla="*/ 151437 h 368254"/>
              <a:gd name="connsiteX21" fmla="*/ 193016 w 654619"/>
              <a:gd name="connsiteY21" fmla="*/ 128262 h 368254"/>
              <a:gd name="connsiteX22" fmla="*/ 127608 w 654619"/>
              <a:gd name="connsiteY22" fmla="*/ 116198 h 368254"/>
              <a:gd name="connsiteX23" fmla="*/ 70777 w 654619"/>
              <a:gd name="connsiteY23" fmla="*/ 105248 h 368254"/>
              <a:gd name="connsiteX24" fmla="*/ 1814 w 654619"/>
              <a:gd name="connsiteY24" fmla="*/ 103530 h 368254"/>
              <a:gd name="connsiteX25" fmla="*/ 0 w 654619"/>
              <a:gd name="connsiteY25" fmla="*/ 0 h 368254"/>
              <a:gd name="connsiteX0" fmla="*/ 0 w 654938"/>
              <a:gd name="connsiteY0" fmla="*/ 3162 h 367608"/>
              <a:gd name="connsiteX1" fmla="*/ 37338 w 654938"/>
              <a:gd name="connsiteY1" fmla="*/ 3441 h 367608"/>
              <a:gd name="connsiteX2" fmla="*/ 57959 w 654938"/>
              <a:gd name="connsiteY2" fmla="*/ 0 h 367608"/>
              <a:gd name="connsiteX3" fmla="*/ 88310 w 654938"/>
              <a:gd name="connsiteY3" fmla="*/ 6290 h 367608"/>
              <a:gd name="connsiteX4" fmla="*/ 139597 w 654938"/>
              <a:gd name="connsiteY4" fmla="*/ 10893 h 367608"/>
              <a:gd name="connsiteX5" fmla="*/ 201978 w 654938"/>
              <a:gd name="connsiteY5" fmla="*/ 25552 h 367608"/>
              <a:gd name="connsiteX6" fmla="*/ 288965 w 654938"/>
              <a:gd name="connsiteY6" fmla="*/ 53437 h 367608"/>
              <a:gd name="connsiteX7" fmla="*/ 343589 w 654938"/>
              <a:gd name="connsiteY7" fmla="*/ 69627 h 367608"/>
              <a:gd name="connsiteX8" fmla="*/ 395185 w 654938"/>
              <a:gd name="connsiteY8" fmla="*/ 98991 h 367608"/>
              <a:gd name="connsiteX9" fmla="*/ 448382 w 654938"/>
              <a:gd name="connsiteY9" fmla="*/ 124386 h 367608"/>
              <a:gd name="connsiteX10" fmla="*/ 501583 w 654938"/>
              <a:gd name="connsiteY10" fmla="*/ 160890 h 367608"/>
              <a:gd name="connsiteX11" fmla="*/ 547311 w 654938"/>
              <a:gd name="connsiteY11" fmla="*/ 190100 h 367608"/>
              <a:gd name="connsiteX12" fmla="*/ 585749 w 654938"/>
              <a:gd name="connsiteY12" fmla="*/ 223591 h 367608"/>
              <a:gd name="connsiteX13" fmla="*/ 612611 w 654938"/>
              <a:gd name="connsiteY13" fmla="*/ 243232 h 367608"/>
              <a:gd name="connsiteX14" fmla="*/ 654938 w 654938"/>
              <a:gd name="connsiteY14" fmla="*/ 291670 h 367608"/>
              <a:gd name="connsiteX15" fmla="*/ 582035 w 654938"/>
              <a:gd name="connsiteY15" fmla="*/ 367608 h 367608"/>
              <a:gd name="connsiteX16" fmla="*/ 517496 w 654938"/>
              <a:gd name="connsiteY16" fmla="*/ 303186 h 367608"/>
              <a:gd name="connsiteX17" fmla="*/ 437018 w 654938"/>
              <a:gd name="connsiteY17" fmla="*/ 238738 h 367608"/>
              <a:gd name="connsiteX18" fmla="*/ 380817 w 654938"/>
              <a:gd name="connsiteY18" fmla="*/ 203498 h 367608"/>
              <a:gd name="connsiteX19" fmla="*/ 328429 w 654938"/>
              <a:gd name="connsiteY19" fmla="*/ 177304 h 367608"/>
              <a:gd name="connsiteX20" fmla="*/ 257946 w 654938"/>
              <a:gd name="connsiteY20" fmla="*/ 150791 h 367608"/>
              <a:gd name="connsiteX21" fmla="*/ 193335 w 654938"/>
              <a:gd name="connsiteY21" fmla="*/ 127616 h 367608"/>
              <a:gd name="connsiteX22" fmla="*/ 127927 w 654938"/>
              <a:gd name="connsiteY22" fmla="*/ 115552 h 367608"/>
              <a:gd name="connsiteX23" fmla="*/ 71096 w 654938"/>
              <a:gd name="connsiteY23" fmla="*/ 104602 h 367608"/>
              <a:gd name="connsiteX24" fmla="*/ 2133 w 654938"/>
              <a:gd name="connsiteY24" fmla="*/ 102884 h 367608"/>
              <a:gd name="connsiteX25" fmla="*/ 0 w 654938"/>
              <a:gd name="connsiteY25" fmla="*/ 3162 h 367608"/>
              <a:gd name="connsiteX0" fmla="*/ 0 w 654938"/>
              <a:gd name="connsiteY0" fmla="*/ 3162 h 367608"/>
              <a:gd name="connsiteX1" fmla="*/ 43049 w 654938"/>
              <a:gd name="connsiteY1" fmla="*/ 3920 h 367608"/>
              <a:gd name="connsiteX2" fmla="*/ 57959 w 654938"/>
              <a:gd name="connsiteY2" fmla="*/ 0 h 367608"/>
              <a:gd name="connsiteX3" fmla="*/ 88310 w 654938"/>
              <a:gd name="connsiteY3" fmla="*/ 6290 h 367608"/>
              <a:gd name="connsiteX4" fmla="*/ 139597 w 654938"/>
              <a:gd name="connsiteY4" fmla="*/ 10893 h 367608"/>
              <a:gd name="connsiteX5" fmla="*/ 201978 w 654938"/>
              <a:gd name="connsiteY5" fmla="*/ 25552 h 367608"/>
              <a:gd name="connsiteX6" fmla="*/ 288965 w 654938"/>
              <a:gd name="connsiteY6" fmla="*/ 53437 h 367608"/>
              <a:gd name="connsiteX7" fmla="*/ 343589 w 654938"/>
              <a:gd name="connsiteY7" fmla="*/ 69627 h 367608"/>
              <a:gd name="connsiteX8" fmla="*/ 395185 w 654938"/>
              <a:gd name="connsiteY8" fmla="*/ 98991 h 367608"/>
              <a:gd name="connsiteX9" fmla="*/ 448382 w 654938"/>
              <a:gd name="connsiteY9" fmla="*/ 124386 h 367608"/>
              <a:gd name="connsiteX10" fmla="*/ 501583 w 654938"/>
              <a:gd name="connsiteY10" fmla="*/ 160890 h 367608"/>
              <a:gd name="connsiteX11" fmla="*/ 547311 w 654938"/>
              <a:gd name="connsiteY11" fmla="*/ 190100 h 367608"/>
              <a:gd name="connsiteX12" fmla="*/ 585749 w 654938"/>
              <a:gd name="connsiteY12" fmla="*/ 223591 h 367608"/>
              <a:gd name="connsiteX13" fmla="*/ 612611 w 654938"/>
              <a:gd name="connsiteY13" fmla="*/ 243232 h 367608"/>
              <a:gd name="connsiteX14" fmla="*/ 654938 w 654938"/>
              <a:gd name="connsiteY14" fmla="*/ 291670 h 367608"/>
              <a:gd name="connsiteX15" fmla="*/ 582035 w 654938"/>
              <a:gd name="connsiteY15" fmla="*/ 367608 h 367608"/>
              <a:gd name="connsiteX16" fmla="*/ 517496 w 654938"/>
              <a:gd name="connsiteY16" fmla="*/ 303186 h 367608"/>
              <a:gd name="connsiteX17" fmla="*/ 437018 w 654938"/>
              <a:gd name="connsiteY17" fmla="*/ 238738 h 367608"/>
              <a:gd name="connsiteX18" fmla="*/ 380817 w 654938"/>
              <a:gd name="connsiteY18" fmla="*/ 203498 h 367608"/>
              <a:gd name="connsiteX19" fmla="*/ 328429 w 654938"/>
              <a:gd name="connsiteY19" fmla="*/ 177304 h 367608"/>
              <a:gd name="connsiteX20" fmla="*/ 257946 w 654938"/>
              <a:gd name="connsiteY20" fmla="*/ 150791 h 367608"/>
              <a:gd name="connsiteX21" fmla="*/ 193335 w 654938"/>
              <a:gd name="connsiteY21" fmla="*/ 127616 h 367608"/>
              <a:gd name="connsiteX22" fmla="*/ 127927 w 654938"/>
              <a:gd name="connsiteY22" fmla="*/ 115552 h 367608"/>
              <a:gd name="connsiteX23" fmla="*/ 71096 w 654938"/>
              <a:gd name="connsiteY23" fmla="*/ 104602 h 367608"/>
              <a:gd name="connsiteX24" fmla="*/ 2133 w 654938"/>
              <a:gd name="connsiteY24" fmla="*/ 102884 h 367608"/>
              <a:gd name="connsiteX25" fmla="*/ 0 w 654938"/>
              <a:gd name="connsiteY25" fmla="*/ 3162 h 367608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88310 w 654938"/>
              <a:gd name="connsiteY3" fmla="*/ 3428 h 364746"/>
              <a:gd name="connsiteX4" fmla="*/ 139597 w 654938"/>
              <a:gd name="connsiteY4" fmla="*/ 8031 h 364746"/>
              <a:gd name="connsiteX5" fmla="*/ 201978 w 654938"/>
              <a:gd name="connsiteY5" fmla="*/ 22690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39597 w 654938"/>
              <a:gd name="connsiteY4" fmla="*/ 8031 h 364746"/>
              <a:gd name="connsiteX5" fmla="*/ 201978 w 654938"/>
              <a:gd name="connsiteY5" fmla="*/ 22690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01978 w 654938"/>
              <a:gd name="connsiteY5" fmla="*/ 22690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53934 w 654938"/>
              <a:gd name="connsiteY9" fmla="*/ 123906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53934 w 654938"/>
              <a:gd name="connsiteY9" fmla="*/ 123906 h 364746"/>
              <a:gd name="connsiteX10" fmla="*/ 505232 w 654938"/>
              <a:gd name="connsiteY10" fmla="*/ 160250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20378 w 654938"/>
              <a:gd name="connsiteY5" fmla="*/ 31900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53934 w 654938"/>
              <a:gd name="connsiteY9" fmla="*/ 123906 h 364746"/>
              <a:gd name="connsiteX10" fmla="*/ 505232 w 654938"/>
              <a:gd name="connsiteY10" fmla="*/ 160250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0 h 364446"/>
              <a:gd name="connsiteX1" fmla="*/ 43049 w 654938"/>
              <a:gd name="connsiteY1" fmla="*/ 758 h 364446"/>
              <a:gd name="connsiteX2" fmla="*/ 68902 w 654938"/>
              <a:gd name="connsiteY2" fmla="*/ 3507 h 364446"/>
              <a:gd name="connsiteX3" fmla="*/ 97828 w 654938"/>
              <a:gd name="connsiteY3" fmla="*/ 3924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581 w 654938"/>
              <a:gd name="connsiteY6" fmla="*/ 50913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97828 w 654938"/>
              <a:gd name="connsiteY3" fmla="*/ 3924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581 w 654938"/>
              <a:gd name="connsiteY6" fmla="*/ 50913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581 w 654938"/>
              <a:gd name="connsiteY6" fmla="*/ 50913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5248 w 654938"/>
              <a:gd name="connsiteY11" fmla="*/ 188681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5248 w 654938"/>
              <a:gd name="connsiteY11" fmla="*/ 188681 h 364446"/>
              <a:gd name="connsiteX12" fmla="*/ 581623 w 654938"/>
              <a:gd name="connsiteY12" fmla="*/ 223918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5248 w 654938"/>
              <a:gd name="connsiteY11" fmla="*/ 188681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49489 w 654938"/>
              <a:gd name="connsiteY9" fmla="*/ 130902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060 w 654938"/>
              <a:gd name="connsiteY5" fmla="*/ 35407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49489 w 654938"/>
              <a:gd name="connsiteY9" fmla="*/ 130902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1966 w 654938"/>
              <a:gd name="connsiteY4" fmla="*/ 20269 h 364446"/>
              <a:gd name="connsiteX5" fmla="*/ 220060 w 654938"/>
              <a:gd name="connsiteY5" fmla="*/ 35407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49489 w 654938"/>
              <a:gd name="connsiteY9" fmla="*/ 130902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80165 w 654938"/>
              <a:gd name="connsiteY3" fmla="*/ 6366 h 364446"/>
              <a:gd name="connsiteX4" fmla="*/ 110675 w 654938"/>
              <a:gd name="connsiteY4" fmla="*/ 10751 h 364446"/>
              <a:gd name="connsiteX5" fmla="*/ 151966 w 654938"/>
              <a:gd name="connsiteY5" fmla="*/ 20269 h 364446"/>
              <a:gd name="connsiteX6" fmla="*/ 220060 w 654938"/>
              <a:gd name="connsiteY6" fmla="*/ 35407 h 364446"/>
              <a:gd name="connsiteX7" fmla="*/ 296102 w 654938"/>
              <a:gd name="connsiteY7" fmla="*/ 56625 h 364446"/>
              <a:gd name="connsiteX8" fmla="*/ 346441 w 654938"/>
              <a:gd name="connsiteY8" fmla="*/ 78206 h 364446"/>
              <a:gd name="connsiteX9" fmla="*/ 398514 w 654938"/>
              <a:gd name="connsiteY9" fmla="*/ 101857 h 364446"/>
              <a:gd name="connsiteX10" fmla="*/ 449489 w 654938"/>
              <a:gd name="connsiteY10" fmla="*/ 130902 h 364446"/>
              <a:gd name="connsiteX11" fmla="*/ 506656 w 654938"/>
              <a:gd name="connsiteY11" fmla="*/ 165821 h 364446"/>
              <a:gd name="connsiteX12" fmla="*/ 541281 w 654938"/>
              <a:gd name="connsiteY12" fmla="*/ 190266 h 364446"/>
              <a:gd name="connsiteX13" fmla="*/ 581623 w 654938"/>
              <a:gd name="connsiteY13" fmla="*/ 223918 h 364446"/>
              <a:gd name="connsiteX14" fmla="*/ 621013 w 654938"/>
              <a:gd name="connsiteY14" fmla="*/ 254193 h 364446"/>
              <a:gd name="connsiteX15" fmla="*/ 654938 w 654938"/>
              <a:gd name="connsiteY15" fmla="*/ 288508 h 364446"/>
              <a:gd name="connsiteX16" fmla="*/ 582035 w 654938"/>
              <a:gd name="connsiteY16" fmla="*/ 364446 h 364446"/>
              <a:gd name="connsiteX17" fmla="*/ 517496 w 654938"/>
              <a:gd name="connsiteY17" fmla="*/ 300024 h 364446"/>
              <a:gd name="connsiteX18" fmla="*/ 437018 w 654938"/>
              <a:gd name="connsiteY18" fmla="*/ 235576 h 364446"/>
              <a:gd name="connsiteX19" fmla="*/ 380817 w 654938"/>
              <a:gd name="connsiteY19" fmla="*/ 200336 h 364446"/>
              <a:gd name="connsiteX20" fmla="*/ 328429 w 654938"/>
              <a:gd name="connsiteY20" fmla="*/ 174142 h 364446"/>
              <a:gd name="connsiteX21" fmla="*/ 257946 w 654938"/>
              <a:gd name="connsiteY21" fmla="*/ 147629 h 364446"/>
              <a:gd name="connsiteX22" fmla="*/ 193335 w 654938"/>
              <a:gd name="connsiteY22" fmla="*/ 124454 h 364446"/>
              <a:gd name="connsiteX23" fmla="*/ 127927 w 654938"/>
              <a:gd name="connsiteY23" fmla="*/ 112390 h 364446"/>
              <a:gd name="connsiteX24" fmla="*/ 71096 w 654938"/>
              <a:gd name="connsiteY24" fmla="*/ 101440 h 364446"/>
              <a:gd name="connsiteX25" fmla="*/ 2133 w 654938"/>
              <a:gd name="connsiteY25" fmla="*/ 99722 h 364446"/>
              <a:gd name="connsiteX26" fmla="*/ 0 w 654938"/>
              <a:gd name="connsiteY26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6 h 364446"/>
              <a:gd name="connsiteX3" fmla="*/ 80165 w 654938"/>
              <a:gd name="connsiteY3" fmla="*/ 6366 h 364446"/>
              <a:gd name="connsiteX4" fmla="*/ 110675 w 654938"/>
              <a:gd name="connsiteY4" fmla="*/ 10751 h 364446"/>
              <a:gd name="connsiteX5" fmla="*/ 151966 w 654938"/>
              <a:gd name="connsiteY5" fmla="*/ 20269 h 364446"/>
              <a:gd name="connsiteX6" fmla="*/ 220060 w 654938"/>
              <a:gd name="connsiteY6" fmla="*/ 35407 h 364446"/>
              <a:gd name="connsiteX7" fmla="*/ 296102 w 654938"/>
              <a:gd name="connsiteY7" fmla="*/ 56625 h 364446"/>
              <a:gd name="connsiteX8" fmla="*/ 346441 w 654938"/>
              <a:gd name="connsiteY8" fmla="*/ 78206 h 364446"/>
              <a:gd name="connsiteX9" fmla="*/ 398514 w 654938"/>
              <a:gd name="connsiteY9" fmla="*/ 101857 h 364446"/>
              <a:gd name="connsiteX10" fmla="*/ 449489 w 654938"/>
              <a:gd name="connsiteY10" fmla="*/ 130902 h 364446"/>
              <a:gd name="connsiteX11" fmla="*/ 506656 w 654938"/>
              <a:gd name="connsiteY11" fmla="*/ 165821 h 364446"/>
              <a:gd name="connsiteX12" fmla="*/ 541281 w 654938"/>
              <a:gd name="connsiteY12" fmla="*/ 190266 h 364446"/>
              <a:gd name="connsiteX13" fmla="*/ 581623 w 654938"/>
              <a:gd name="connsiteY13" fmla="*/ 223918 h 364446"/>
              <a:gd name="connsiteX14" fmla="*/ 621013 w 654938"/>
              <a:gd name="connsiteY14" fmla="*/ 254193 h 364446"/>
              <a:gd name="connsiteX15" fmla="*/ 654938 w 654938"/>
              <a:gd name="connsiteY15" fmla="*/ 288508 h 364446"/>
              <a:gd name="connsiteX16" fmla="*/ 582035 w 654938"/>
              <a:gd name="connsiteY16" fmla="*/ 364446 h 364446"/>
              <a:gd name="connsiteX17" fmla="*/ 517496 w 654938"/>
              <a:gd name="connsiteY17" fmla="*/ 300024 h 364446"/>
              <a:gd name="connsiteX18" fmla="*/ 437018 w 654938"/>
              <a:gd name="connsiteY18" fmla="*/ 235576 h 364446"/>
              <a:gd name="connsiteX19" fmla="*/ 380817 w 654938"/>
              <a:gd name="connsiteY19" fmla="*/ 200336 h 364446"/>
              <a:gd name="connsiteX20" fmla="*/ 328429 w 654938"/>
              <a:gd name="connsiteY20" fmla="*/ 174142 h 364446"/>
              <a:gd name="connsiteX21" fmla="*/ 257946 w 654938"/>
              <a:gd name="connsiteY21" fmla="*/ 147629 h 364446"/>
              <a:gd name="connsiteX22" fmla="*/ 193335 w 654938"/>
              <a:gd name="connsiteY22" fmla="*/ 124454 h 364446"/>
              <a:gd name="connsiteX23" fmla="*/ 127927 w 654938"/>
              <a:gd name="connsiteY23" fmla="*/ 112390 h 364446"/>
              <a:gd name="connsiteX24" fmla="*/ 71096 w 654938"/>
              <a:gd name="connsiteY24" fmla="*/ 101440 h 364446"/>
              <a:gd name="connsiteX25" fmla="*/ 2133 w 654938"/>
              <a:gd name="connsiteY25" fmla="*/ 99722 h 364446"/>
              <a:gd name="connsiteX26" fmla="*/ 0 w 654938"/>
              <a:gd name="connsiteY26" fmla="*/ 0 h 364446"/>
              <a:gd name="connsiteX0" fmla="*/ 0 w 654938"/>
              <a:gd name="connsiteY0" fmla="*/ 0 h 364446"/>
              <a:gd name="connsiteX1" fmla="*/ 38764 w 654938"/>
              <a:gd name="connsiteY1" fmla="*/ 6151 h 364446"/>
              <a:gd name="connsiteX2" fmla="*/ 68902 w 654938"/>
              <a:gd name="connsiteY2" fmla="*/ 3506 h 364446"/>
              <a:gd name="connsiteX3" fmla="*/ 80165 w 654938"/>
              <a:gd name="connsiteY3" fmla="*/ 6366 h 364446"/>
              <a:gd name="connsiteX4" fmla="*/ 110675 w 654938"/>
              <a:gd name="connsiteY4" fmla="*/ 10751 h 364446"/>
              <a:gd name="connsiteX5" fmla="*/ 151966 w 654938"/>
              <a:gd name="connsiteY5" fmla="*/ 20269 h 364446"/>
              <a:gd name="connsiteX6" fmla="*/ 220060 w 654938"/>
              <a:gd name="connsiteY6" fmla="*/ 35407 h 364446"/>
              <a:gd name="connsiteX7" fmla="*/ 296102 w 654938"/>
              <a:gd name="connsiteY7" fmla="*/ 56625 h 364446"/>
              <a:gd name="connsiteX8" fmla="*/ 346441 w 654938"/>
              <a:gd name="connsiteY8" fmla="*/ 78206 h 364446"/>
              <a:gd name="connsiteX9" fmla="*/ 398514 w 654938"/>
              <a:gd name="connsiteY9" fmla="*/ 101857 h 364446"/>
              <a:gd name="connsiteX10" fmla="*/ 449489 w 654938"/>
              <a:gd name="connsiteY10" fmla="*/ 130902 h 364446"/>
              <a:gd name="connsiteX11" fmla="*/ 506656 w 654938"/>
              <a:gd name="connsiteY11" fmla="*/ 165821 h 364446"/>
              <a:gd name="connsiteX12" fmla="*/ 541281 w 654938"/>
              <a:gd name="connsiteY12" fmla="*/ 190266 h 364446"/>
              <a:gd name="connsiteX13" fmla="*/ 581623 w 654938"/>
              <a:gd name="connsiteY13" fmla="*/ 223918 h 364446"/>
              <a:gd name="connsiteX14" fmla="*/ 621013 w 654938"/>
              <a:gd name="connsiteY14" fmla="*/ 254193 h 364446"/>
              <a:gd name="connsiteX15" fmla="*/ 654938 w 654938"/>
              <a:gd name="connsiteY15" fmla="*/ 288508 h 364446"/>
              <a:gd name="connsiteX16" fmla="*/ 582035 w 654938"/>
              <a:gd name="connsiteY16" fmla="*/ 364446 h 364446"/>
              <a:gd name="connsiteX17" fmla="*/ 517496 w 654938"/>
              <a:gd name="connsiteY17" fmla="*/ 300024 h 364446"/>
              <a:gd name="connsiteX18" fmla="*/ 437018 w 654938"/>
              <a:gd name="connsiteY18" fmla="*/ 235576 h 364446"/>
              <a:gd name="connsiteX19" fmla="*/ 380817 w 654938"/>
              <a:gd name="connsiteY19" fmla="*/ 200336 h 364446"/>
              <a:gd name="connsiteX20" fmla="*/ 328429 w 654938"/>
              <a:gd name="connsiteY20" fmla="*/ 174142 h 364446"/>
              <a:gd name="connsiteX21" fmla="*/ 257946 w 654938"/>
              <a:gd name="connsiteY21" fmla="*/ 147629 h 364446"/>
              <a:gd name="connsiteX22" fmla="*/ 193335 w 654938"/>
              <a:gd name="connsiteY22" fmla="*/ 124454 h 364446"/>
              <a:gd name="connsiteX23" fmla="*/ 127927 w 654938"/>
              <a:gd name="connsiteY23" fmla="*/ 112390 h 364446"/>
              <a:gd name="connsiteX24" fmla="*/ 71096 w 654938"/>
              <a:gd name="connsiteY24" fmla="*/ 101440 h 364446"/>
              <a:gd name="connsiteX25" fmla="*/ 2133 w 654938"/>
              <a:gd name="connsiteY25" fmla="*/ 99722 h 364446"/>
              <a:gd name="connsiteX26" fmla="*/ 0 w 654938"/>
              <a:gd name="connsiteY26" fmla="*/ 0 h 364446"/>
              <a:gd name="connsiteX0" fmla="*/ 0 w 655257"/>
              <a:gd name="connsiteY0" fmla="*/ 323 h 360961"/>
              <a:gd name="connsiteX1" fmla="*/ 39083 w 655257"/>
              <a:gd name="connsiteY1" fmla="*/ 2666 h 360961"/>
              <a:gd name="connsiteX2" fmla="*/ 69221 w 655257"/>
              <a:gd name="connsiteY2" fmla="*/ 21 h 360961"/>
              <a:gd name="connsiteX3" fmla="*/ 80484 w 655257"/>
              <a:gd name="connsiteY3" fmla="*/ 2881 h 360961"/>
              <a:gd name="connsiteX4" fmla="*/ 110994 w 655257"/>
              <a:gd name="connsiteY4" fmla="*/ 7266 h 360961"/>
              <a:gd name="connsiteX5" fmla="*/ 152285 w 655257"/>
              <a:gd name="connsiteY5" fmla="*/ 16784 h 360961"/>
              <a:gd name="connsiteX6" fmla="*/ 220379 w 655257"/>
              <a:gd name="connsiteY6" fmla="*/ 31922 h 360961"/>
              <a:gd name="connsiteX7" fmla="*/ 296421 w 655257"/>
              <a:gd name="connsiteY7" fmla="*/ 53140 h 360961"/>
              <a:gd name="connsiteX8" fmla="*/ 346760 w 655257"/>
              <a:gd name="connsiteY8" fmla="*/ 74721 h 360961"/>
              <a:gd name="connsiteX9" fmla="*/ 398833 w 655257"/>
              <a:gd name="connsiteY9" fmla="*/ 98372 h 360961"/>
              <a:gd name="connsiteX10" fmla="*/ 449808 w 655257"/>
              <a:gd name="connsiteY10" fmla="*/ 127417 h 360961"/>
              <a:gd name="connsiteX11" fmla="*/ 506975 w 655257"/>
              <a:gd name="connsiteY11" fmla="*/ 162336 h 360961"/>
              <a:gd name="connsiteX12" fmla="*/ 541600 w 655257"/>
              <a:gd name="connsiteY12" fmla="*/ 186781 h 360961"/>
              <a:gd name="connsiteX13" fmla="*/ 581942 w 655257"/>
              <a:gd name="connsiteY13" fmla="*/ 220433 h 360961"/>
              <a:gd name="connsiteX14" fmla="*/ 621332 w 655257"/>
              <a:gd name="connsiteY14" fmla="*/ 250708 h 360961"/>
              <a:gd name="connsiteX15" fmla="*/ 655257 w 655257"/>
              <a:gd name="connsiteY15" fmla="*/ 285023 h 360961"/>
              <a:gd name="connsiteX16" fmla="*/ 582354 w 655257"/>
              <a:gd name="connsiteY16" fmla="*/ 360961 h 360961"/>
              <a:gd name="connsiteX17" fmla="*/ 517815 w 655257"/>
              <a:gd name="connsiteY17" fmla="*/ 296539 h 360961"/>
              <a:gd name="connsiteX18" fmla="*/ 437337 w 655257"/>
              <a:gd name="connsiteY18" fmla="*/ 232091 h 360961"/>
              <a:gd name="connsiteX19" fmla="*/ 381136 w 655257"/>
              <a:gd name="connsiteY19" fmla="*/ 196851 h 360961"/>
              <a:gd name="connsiteX20" fmla="*/ 328748 w 655257"/>
              <a:gd name="connsiteY20" fmla="*/ 170657 h 360961"/>
              <a:gd name="connsiteX21" fmla="*/ 258265 w 655257"/>
              <a:gd name="connsiteY21" fmla="*/ 144144 h 360961"/>
              <a:gd name="connsiteX22" fmla="*/ 193654 w 655257"/>
              <a:gd name="connsiteY22" fmla="*/ 120969 h 360961"/>
              <a:gd name="connsiteX23" fmla="*/ 128246 w 655257"/>
              <a:gd name="connsiteY23" fmla="*/ 108905 h 360961"/>
              <a:gd name="connsiteX24" fmla="*/ 71415 w 655257"/>
              <a:gd name="connsiteY24" fmla="*/ 97955 h 360961"/>
              <a:gd name="connsiteX25" fmla="*/ 2452 w 655257"/>
              <a:gd name="connsiteY25" fmla="*/ 96237 h 360961"/>
              <a:gd name="connsiteX26" fmla="*/ 0 w 655257"/>
              <a:gd name="connsiteY26" fmla="*/ 323 h 360961"/>
              <a:gd name="connsiteX0" fmla="*/ 0 w 655257"/>
              <a:gd name="connsiteY0" fmla="*/ 0 h 360638"/>
              <a:gd name="connsiteX1" fmla="*/ 39083 w 655257"/>
              <a:gd name="connsiteY1" fmla="*/ 2343 h 360638"/>
              <a:gd name="connsiteX2" fmla="*/ 80484 w 655257"/>
              <a:gd name="connsiteY2" fmla="*/ 2558 h 360638"/>
              <a:gd name="connsiteX3" fmla="*/ 110994 w 655257"/>
              <a:gd name="connsiteY3" fmla="*/ 6943 h 360638"/>
              <a:gd name="connsiteX4" fmla="*/ 152285 w 655257"/>
              <a:gd name="connsiteY4" fmla="*/ 16461 h 360638"/>
              <a:gd name="connsiteX5" fmla="*/ 220379 w 655257"/>
              <a:gd name="connsiteY5" fmla="*/ 31599 h 360638"/>
              <a:gd name="connsiteX6" fmla="*/ 296421 w 655257"/>
              <a:gd name="connsiteY6" fmla="*/ 52817 h 360638"/>
              <a:gd name="connsiteX7" fmla="*/ 346760 w 655257"/>
              <a:gd name="connsiteY7" fmla="*/ 74398 h 360638"/>
              <a:gd name="connsiteX8" fmla="*/ 398833 w 655257"/>
              <a:gd name="connsiteY8" fmla="*/ 98049 h 360638"/>
              <a:gd name="connsiteX9" fmla="*/ 449808 w 655257"/>
              <a:gd name="connsiteY9" fmla="*/ 127094 h 360638"/>
              <a:gd name="connsiteX10" fmla="*/ 506975 w 655257"/>
              <a:gd name="connsiteY10" fmla="*/ 162013 h 360638"/>
              <a:gd name="connsiteX11" fmla="*/ 541600 w 655257"/>
              <a:gd name="connsiteY11" fmla="*/ 186458 h 360638"/>
              <a:gd name="connsiteX12" fmla="*/ 581942 w 655257"/>
              <a:gd name="connsiteY12" fmla="*/ 220110 h 360638"/>
              <a:gd name="connsiteX13" fmla="*/ 621332 w 655257"/>
              <a:gd name="connsiteY13" fmla="*/ 250385 h 360638"/>
              <a:gd name="connsiteX14" fmla="*/ 655257 w 655257"/>
              <a:gd name="connsiteY14" fmla="*/ 284700 h 360638"/>
              <a:gd name="connsiteX15" fmla="*/ 582354 w 655257"/>
              <a:gd name="connsiteY15" fmla="*/ 360638 h 360638"/>
              <a:gd name="connsiteX16" fmla="*/ 517815 w 655257"/>
              <a:gd name="connsiteY16" fmla="*/ 296216 h 360638"/>
              <a:gd name="connsiteX17" fmla="*/ 437337 w 655257"/>
              <a:gd name="connsiteY17" fmla="*/ 231768 h 360638"/>
              <a:gd name="connsiteX18" fmla="*/ 381136 w 655257"/>
              <a:gd name="connsiteY18" fmla="*/ 196528 h 360638"/>
              <a:gd name="connsiteX19" fmla="*/ 328748 w 655257"/>
              <a:gd name="connsiteY19" fmla="*/ 170334 h 360638"/>
              <a:gd name="connsiteX20" fmla="*/ 258265 w 655257"/>
              <a:gd name="connsiteY20" fmla="*/ 143821 h 360638"/>
              <a:gd name="connsiteX21" fmla="*/ 193654 w 655257"/>
              <a:gd name="connsiteY21" fmla="*/ 120646 h 360638"/>
              <a:gd name="connsiteX22" fmla="*/ 128246 w 655257"/>
              <a:gd name="connsiteY22" fmla="*/ 108582 h 360638"/>
              <a:gd name="connsiteX23" fmla="*/ 71415 w 655257"/>
              <a:gd name="connsiteY23" fmla="*/ 97632 h 360638"/>
              <a:gd name="connsiteX24" fmla="*/ 2452 w 655257"/>
              <a:gd name="connsiteY24" fmla="*/ 95914 h 360638"/>
              <a:gd name="connsiteX25" fmla="*/ 0 w 655257"/>
              <a:gd name="connsiteY25" fmla="*/ 0 h 360638"/>
              <a:gd name="connsiteX0" fmla="*/ 0 w 655257"/>
              <a:gd name="connsiteY0" fmla="*/ 0 h 360638"/>
              <a:gd name="connsiteX1" fmla="*/ 39083 w 655257"/>
              <a:gd name="connsiteY1" fmla="*/ 2343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54472 w 655257"/>
              <a:gd name="connsiteY1" fmla="*/ 1715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54472 w 655257"/>
              <a:gd name="connsiteY1" fmla="*/ 1715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62088 w 655257"/>
              <a:gd name="connsiteY1" fmla="*/ 2353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62088 w 655257"/>
              <a:gd name="connsiteY1" fmla="*/ 2353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173 w 655257"/>
              <a:gd name="connsiteY12" fmla="*/ 252289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52996"/>
              <a:gd name="connsiteX1" fmla="*/ 62088 w 655257"/>
              <a:gd name="connsiteY1" fmla="*/ 2353 h 352996"/>
              <a:gd name="connsiteX2" fmla="*/ 110994 w 655257"/>
              <a:gd name="connsiteY2" fmla="*/ 6943 h 352996"/>
              <a:gd name="connsiteX3" fmla="*/ 152285 w 655257"/>
              <a:gd name="connsiteY3" fmla="*/ 16461 h 352996"/>
              <a:gd name="connsiteX4" fmla="*/ 220379 w 655257"/>
              <a:gd name="connsiteY4" fmla="*/ 31599 h 352996"/>
              <a:gd name="connsiteX5" fmla="*/ 296421 w 655257"/>
              <a:gd name="connsiteY5" fmla="*/ 52817 h 352996"/>
              <a:gd name="connsiteX6" fmla="*/ 346760 w 655257"/>
              <a:gd name="connsiteY6" fmla="*/ 74398 h 352996"/>
              <a:gd name="connsiteX7" fmla="*/ 398833 w 655257"/>
              <a:gd name="connsiteY7" fmla="*/ 98049 h 352996"/>
              <a:gd name="connsiteX8" fmla="*/ 449808 w 655257"/>
              <a:gd name="connsiteY8" fmla="*/ 127094 h 352996"/>
              <a:gd name="connsiteX9" fmla="*/ 506975 w 655257"/>
              <a:gd name="connsiteY9" fmla="*/ 162013 h 352996"/>
              <a:gd name="connsiteX10" fmla="*/ 541600 w 655257"/>
              <a:gd name="connsiteY10" fmla="*/ 186458 h 352996"/>
              <a:gd name="connsiteX11" fmla="*/ 581942 w 655257"/>
              <a:gd name="connsiteY11" fmla="*/ 220110 h 352996"/>
              <a:gd name="connsiteX12" fmla="*/ 621173 w 655257"/>
              <a:gd name="connsiteY12" fmla="*/ 252289 h 352996"/>
              <a:gd name="connsiteX13" fmla="*/ 655257 w 655257"/>
              <a:gd name="connsiteY13" fmla="*/ 284700 h 352996"/>
              <a:gd name="connsiteX14" fmla="*/ 589996 w 655257"/>
              <a:gd name="connsiteY14" fmla="*/ 352996 h 352996"/>
              <a:gd name="connsiteX15" fmla="*/ 517815 w 655257"/>
              <a:gd name="connsiteY15" fmla="*/ 296216 h 352996"/>
              <a:gd name="connsiteX16" fmla="*/ 437337 w 655257"/>
              <a:gd name="connsiteY16" fmla="*/ 231768 h 352996"/>
              <a:gd name="connsiteX17" fmla="*/ 381136 w 655257"/>
              <a:gd name="connsiteY17" fmla="*/ 196528 h 352996"/>
              <a:gd name="connsiteX18" fmla="*/ 328748 w 655257"/>
              <a:gd name="connsiteY18" fmla="*/ 170334 h 352996"/>
              <a:gd name="connsiteX19" fmla="*/ 258265 w 655257"/>
              <a:gd name="connsiteY19" fmla="*/ 143821 h 352996"/>
              <a:gd name="connsiteX20" fmla="*/ 193654 w 655257"/>
              <a:gd name="connsiteY20" fmla="*/ 120646 h 352996"/>
              <a:gd name="connsiteX21" fmla="*/ 128246 w 655257"/>
              <a:gd name="connsiteY21" fmla="*/ 108582 h 352996"/>
              <a:gd name="connsiteX22" fmla="*/ 71415 w 655257"/>
              <a:gd name="connsiteY22" fmla="*/ 97632 h 352996"/>
              <a:gd name="connsiteX23" fmla="*/ 2452 w 655257"/>
              <a:gd name="connsiteY23" fmla="*/ 95914 h 352996"/>
              <a:gd name="connsiteX24" fmla="*/ 0 w 655257"/>
              <a:gd name="connsiteY24" fmla="*/ 0 h 352996"/>
              <a:gd name="connsiteX0" fmla="*/ 0 w 655257"/>
              <a:gd name="connsiteY0" fmla="*/ 0 h 352996"/>
              <a:gd name="connsiteX1" fmla="*/ 62088 w 655257"/>
              <a:gd name="connsiteY1" fmla="*/ 2353 h 352996"/>
              <a:gd name="connsiteX2" fmla="*/ 110994 w 655257"/>
              <a:gd name="connsiteY2" fmla="*/ 6943 h 352996"/>
              <a:gd name="connsiteX3" fmla="*/ 152285 w 655257"/>
              <a:gd name="connsiteY3" fmla="*/ 16461 h 352996"/>
              <a:gd name="connsiteX4" fmla="*/ 220379 w 655257"/>
              <a:gd name="connsiteY4" fmla="*/ 31599 h 352996"/>
              <a:gd name="connsiteX5" fmla="*/ 296421 w 655257"/>
              <a:gd name="connsiteY5" fmla="*/ 52817 h 352996"/>
              <a:gd name="connsiteX6" fmla="*/ 346760 w 655257"/>
              <a:gd name="connsiteY6" fmla="*/ 74398 h 352996"/>
              <a:gd name="connsiteX7" fmla="*/ 398833 w 655257"/>
              <a:gd name="connsiteY7" fmla="*/ 98049 h 352996"/>
              <a:gd name="connsiteX8" fmla="*/ 449808 w 655257"/>
              <a:gd name="connsiteY8" fmla="*/ 127094 h 352996"/>
              <a:gd name="connsiteX9" fmla="*/ 506975 w 655257"/>
              <a:gd name="connsiteY9" fmla="*/ 162013 h 352996"/>
              <a:gd name="connsiteX10" fmla="*/ 541600 w 655257"/>
              <a:gd name="connsiteY10" fmla="*/ 186458 h 352996"/>
              <a:gd name="connsiteX11" fmla="*/ 581942 w 655257"/>
              <a:gd name="connsiteY11" fmla="*/ 220110 h 352996"/>
              <a:gd name="connsiteX12" fmla="*/ 621173 w 655257"/>
              <a:gd name="connsiteY12" fmla="*/ 252289 h 352996"/>
              <a:gd name="connsiteX13" fmla="*/ 655257 w 655257"/>
              <a:gd name="connsiteY13" fmla="*/ 284700 h 352996"/>
              <a:gd name="connsiteX14" fmla="*/ 589996 w 655257"/>
              <a:gd name="connsiteY14" fmla="*/ 352996 h 352996"/>
              <a:gd name="connsiteX15" fmla="*/ 521636 w 655257"/>
              <a:gd name="connsiteY15" fmla="*/ 290484 h 352996"/>
              <a:gd name="connsiteX16" fmla="*/ 437337 w 655257"/>
              <a:gd name="connsiteY16" fmla="*/ 231768 h 352996"/>
              <a:gd name="connsiteX17" fmla="*/ 381136 w 655257"/>
              <a:gd name="connsiteY17" fmla="*/ 196528 h 352996"/>
              <a:gd name="connsiteX18" fmla="*/ 328748 w 655257"/>
              <a:gd name="connsiteY18" fmla="*/ 170334 h 352996"/>
              <a:gd name="connsiteX19" fmla="*/ 258265 w 655257"/>
              <a:gd name="connsiteY19" fmla="*/ 143821 h 352996"/>
              <a:gd name="connsiteX20" fmla="*/ 193654 w 655257"/>
              <a:gd name="connsiteY20" fmla="*/ 120646 h 352996"/>
              <a:gd name="connsiteX21" fmla="*/ 128246 w 655257"/>
              <a:gd name="connsiteY21" fmla="*/ 108582 h 352996"/>
              <a:gd name="connsiteX22" fmla="*/ 71415 w 655257"/>
              <a:gd name="connsiteY22" fmla="*/ 97632 h 352996"/>
              <a:gd name="connsiteX23" fmla="*/ 2452 w 655257"/>
              <a:gd name="connsiteY23" fmla="*/ 95914 h 352996"/>
              <a:gd name="connsiteX24" fmla="*/ 0 w 655257"/>
              <a:gd name="connsiteY24" fmla="*/ 0 h 352996"/>
              <a:gd name="connsiteX0" fmla="*/ 0 w 655257"/>
              <a:gd name="connsiteY0" fmla="*/ 0 h 352996"/>
              <a:gd name="connsiteX1" fmla="*/ 62088 w 655257"/>
              <a:gd name="connsiteY1" fmla="*/ 2353 h 352996"/>
              <a:gd name="connsiteX2" fmla="*/ 110994 w 655257"/>
              <a:gd name="connsiteY2" fmla="*/ 6943 h 352996"/>
              <a:gd name="connsiteX3" fmla="*/ 152285 w 655257"/>
              <a:gd name="connsiteY3" fmla="*/ 16461 h 352996"/>
              <a:gd name="connsiteX4" fmla="*/ 220379 w 655257"/>
              <a:gd name="connsiteY4" fmla="*/ 31599 h 352996"/>
              <a:gd name="connsiteX5" fmla="*/ 296421 w 655257"/>
              <a:gd name="connsiteY5" fmla="*/ 52817 h 352996"/>
              <a:gd name="connsiteX6" fmla="*/ 346760 w 655257"/>
              <a:gd name="connsiteY6" fmla="*/ 74398 h 352996"/>
              <a:gd name="connsiteX7" fmla="*/ 398833 w 655257"/>
              <a:gd name="connsiteY7" fmla="*/ 98049 h 352996"/>
              <a:gd name="connsiteX8" fmla="*/ 449808 w 655257"/>
              <a:gd name="connsiteY8" fmla="*/ 127094 h 352996"/>
              <a:gd name="connsiteX9" fmla="*/ 506975 w 655257"/>
              <a:gd name="connsiteY9" fmla="*/ 162013 h 352996"/>
              <a:gd name="connsiteX10" fmla="*/ 541600 w 655257"/>
              <a:gd name="connsiteY10" fmla="*/ 186458 h 352996"/>
              <a:gd name="connsiteX11" fmla="*/ 581942 w 655257"/>
              <a:gd name="connsiteY11" fmla="*/ 220110 h 352996"/>
              <a:gd name="connsiteX12" fmla="*/ 621173 w 655257"/>
              <a:gd name="connsiteY12" fmla="*/ 252289 h 352996"/>
              <a:gd name="connsiteX13" fmla="*/ 655257 w 655257"/>
              <a:gd name="connsiteY13" fmla="*/ 284700 h 352996"/>
              <a:gd name="connsiteX14" fmla="*/ 589996 w 655257"/>
              <a:gd name="connsiteY14" fmla="*/ 352996 h 352996"/>
              <a:gd name="connsiteX15" fmla="*/ 521636 w 655257"/>
              <a:gd name="connsiteY15" fmla="*/ 290484 h 352996"/>
              <a:gd name="connsiteX16" fmla="*/ 448800 w 655257"/>
              <a:gd name="connsiteY16" fmla="*/ 235589 h 352996"/>
              <a:gd name="connsiteX17" fmla="*/ 381136 w 655257"/>
              <a:gd name="connsiteY17" fmla="*/ 196528 h 352996"/>
              <a:gd name="connsiteX18" fmla="*/ 328748 w 655257"/>
              <a:gd name="connsiteY18" fmla="*/ 170334 h 352996"/>
              <a:gd name="connsiteX19" fmla="*/ 258265 w 655257"/>
              <a:gd name="connsiteY19" fmla="*/ 143821 h 352996"/>
              <a:gd name="connsiteX20" fmla="*/ 193654 w 655257"/>
              <a:gd name="connsiteY20" fmla="*/ 120646 h 352996"/>
              <a:gd name="connsiteX21" fmla="*/ 128246 w 655257"/>
              <a:gd name="connsiteY21" fmla="*/ 108582 h 352996"/>
              <a:gd name="connsiteX22" fmla="*/ 71415 w 655257"/>
              <a:gd name="connsiteY22" fmla="*/ 97632 h 352996"/>
              <a:gd name="connsiteX23" fmla="*/ 2452 w 655257"/>
              <a:gd name="connsiteY23" fmla="*/ 95914 h 352996"/>
              <a:gd name="connsiteX24" fmla="*/ 0 w 655257"/>
              <a:gd name="connsiteY24" fmla="*/ 0 h 352996"/>
              <a:gd name="connsiteX0" fmla="*/ 1711 w 656968"/>
              <a:gd name="connsiteY0" fmla="*/ 0 h 352996"/>
              <a:gd name="connsiteX1" fmla="*/ 63799 w 656968"/>
              <a:gd name="connsiteY1" fmla="*/ 2353 h 352996"/>
              <a:gd name="connsiteX2" fmla="*/ 112705 w 656968"/>
              <a:gd name="connsiteY2" fmla="*/ 6943 h 352996"/>
              <a:gd name="connsiteX3" fmla="*/ 153996 w 656968"/>
              <a:gd name="connsiteY3" fmla="*/ 16461 h 352996"/>
              <a:gd name="connsiteX4" fmla="*/ 222090 w 656968"/>
              <a:gd name="connsiteY4" fmla="*/ 31599 h 352996"/>
              <a:gd name="connsiteX5" fmla="*/ 298132 w 656968"/>
              <a:gd name="connsiteY5" fmla="*/ 52817 h 352996"/>
              <a:gd name="connsiteX6" fmla="*/ 348471 w 656968"/>
              <a:gd name="connsiteY6" fmla="*/ 74398 h 352996"/>
              <a:gd name="connsiteX7" fmla="*/ 400544 w 656968"/>
              <a:gd name="connsiteY7" fmla="*/ 98049 h 352996"/>
              <a:gd name="connsiteX8" fmla="*/ 451519 w 656968"/>
              <a:gd name="connsiteY8" fmla="*/ 127094 h 352996"/>
              <a:gd name="connsiteX9" fmla="*/ 508686 w 656968"/>
              <a:gd name="connsiteY9" fmla="*/ 162013 h 352996"/>
              <a:gd name="connsiteX10" fmla="*/ 543311 w 656968"/>
              <a:gd name="connsiteY10" fmla="*/ 186458 h 352996"/>
              <a:gd name="connsiteX11" fmla="*/ 583653 w 656968"/>
              <a:gd name="connsiteY11" fmla="*/ 220110 h 352996"/>
              <a:gd name="connsiteX12" fmla="*/ 622884 w 656968"/>
              <a:gd name="connsiteY12" fmla="*/ 252289 h 352996"/>
              <a:gd name="connsiteX13" fmla="*/ 656968 w 656968"/>
              <a:gd name="connsiteY13" fmla="*/ 284700 h 352996"/>
              <a:gd name="connsiteX14" fmla="*/ 591707 w 656968"/>
              <a:gd name="connsiteY14" fmla="*/ 352996 h 352996"/>
              <a:gd name="connsiteX15" fmla="*/ 523347 w 656968"/>
              <a:gd name="connsiteY15" fmla="*/ 290484 h 352996"/>
              <a:gd name="connsiteX16" fmla="*/ 450511 w 656968"/>
              <a:gd name="connsiteY16" fmla="*/ 235589 h 352996"/>
              <a:gd name="connsiteX17" fmla="*/ 382847 w 656968"/>
              <a:gd name="connsiteY17" fmla="*/ 196528 h 352996"/>
              <a:gd name="connsiteX18" fmla="*/ 330459 w 656968"/>
              <a:gd name="connsiteY18" fmla="*/ 170334 h 352996"/>
              <a:gd name="connsiteX19" fmla="*/ 259976 w 656968"/>
              <a:gd name="connsiteY19" fmla="*/ 143821 h 352996"/>
              <a:gd name="connsiteX20" fmla="*/ 195365 w 656968"/>
              <a:gd name="connsiteY20" fmla="*/ 120646 h 352996"/>
              <a:gd name="connsiteX21" fmla="*/ 129957 w 656968"/>
              <a:gd name="connsiteY21" fmla="*/ 108582 h 352996"/>
              <a:gd name="connsiteX22" fmla="*/ 73126 w 656968"/>
              <a:gd name="connsiteY22" fmla="*/ 97632 h 352996"/>
              <a:gd name="connsiteX23" fmla="*/ 341 w 656968"/>
              <a:gd name="connsiteY23" fmla="*/ 97824 h 352996"/>
              <a:gd name="connsiteX24" fmla="*/ 1711 w 656968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195564 w 657167"/>
              <a:gd name="connsiteY20" fmla="*/ 120646 h 352996"/>
              <a:gd name="connsiteX21" fmla="*/ 130156 w 657167"/>
              <a:gd name="connsiteY21" fmla="*/ 108582 h 352996"/>
              <a:gd name="connsiteX22" fmla="*/ 73325 w 657167"/>
              <a:gd name="connsiteY22" fmla="*/ 9763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195564 w 657167"/>
              <a:gd name="connsiteY20" fmla="*/ 120646 h 352996"/>
              <a:gd name="connsiteX21" fmla="*/ 130156 w 657167"/>
              <a:gd name="connsiteY21" fmla="*/ 108582 h 352996"/>
              <a:gd name="connsiteX22" fmla="*/ 73325 w 657167"/>
              <a:gd name="connsiteY22" fmla="*/ 9954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195564 w 657167"/>
              <a:gd name="connsiteY20" fmla="*/ 120646 h 352996"/>
              <a:gd name="connsiteX21" fmla="*/ 137798 w 657167"/>
              <a:gd name="connsiteY21" fmla="*/ 110493 h 352996"/>
              <a:gd name="connsiteX22" fmla="*/ 73325 w 657167"/>
              <a:gd name="connsiteY22" fmla="*/ 9954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207026 w 657167"/>
              <a:gd name="connsiteY20" fmla="*/ 120646 h 352996"/>
              <a:gd name="connsiteX21" fmla="*/ 137798 w 657167"/>
              <a:gd name="connsiteY21" fmla="*/ 110493 h 352996"/>
              <a:gd name="connsiteX22" fmla="*/ 73325 w 657167"/>
              <a:gd name="connsiteY22" fmla="*/ 9954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30071"/>
              <a:gd name="connsiteX1" fmla="*/ 63998 w 657167"/>
              <a:gd name="connsiteY1" fmla="*/ 2353 h 330071"/>
              <a:gd name="connsiteX2" fmla="*/ 112904 w 657167"/>
              <a:gd name="connsiteY2" fmla="*/ 6943 h 330071"/>
              <a:gd name="connsiteX3" fmla="*/ 154195 w 657167"/>
              <a:gd name="connsiteY3" fmla="*/ 16461 h 330071"/>
              <a:gd name="connsiteX4" fmla="*/ 222289 w 657167"/>
              <a:gd name="connsiteY4" fmla="*/ 31599 h 330071"/>
              <a:gd name="connsiteX5" fmla="*/ 298331 w 657167"/>
              <a:gd name="connsiteY5" fmla="*/ 52817 h 330071"/>
              <a:gd name="connsiteX6" fmla="*/ 348670 w 657167"/>
              <a:gd name="connsiteY6" fmla="*/ 74398 h 330071"/>
              <a:gd name="connsiteX7" fmla="*/ 400743 w 657167"/>
              <a:gd name="connsiteY7" fmla="*/ 98049 h 330071"/>
              <a:gd name="connsiteX8" fmla="*/ 451718 w 657167"/>
              <a:gd name="connsiteY8" fmla="*/ 127094 h 330071"/>
              <a:gd name="connsiteX9" fmla="*/ 508885 w 657167"/>
              <a:gd name="connsiteY9" fmla="*/ 162013 h 330071"/>
              <a:gd name="connsiteX10" fmla="*/ 543510 w 657167"/>
              <a:gd name="connsiteY10" fmla="*/ 186458 h 330071"/>
              <a:gd name="connsiteX11" fmla="*/ 583852 w 657167"/>
              <a:gd name="connsiteY11" fmla="*/ 220110 h 330071"/>
              <a:gd name="connsiteX12" fmla="*/ 623083 w 657167"/>
              <a:gd name="connsiteY12" fmla="*/ 252289 h 330071"/>
              <a:gd name="connsiteX13" fmla="*/ 657167 w 657167"/>
              <a:gd name="connsiteY13" fmla="*/ 284700 h 330071"/>
              <a:gd name="connsiteX14" fmla="*/ 563886 w 657167"/>
              <a:gd name="connsiteY14" fmla="*/ 330071 h 330071"/>
              <a:gd name="connsiteX15" fmla="*/ 523546 w 657167"/>
              <a:gd name="connsiteY15" fmla="*/ 290484 h 330071"/>
              <a:gd name="connsiteX16" fmla="*/ 450710 w 657167"/>
              <a:gd name="connsiteY16" fmla="*/ 235589 h 330071"/>
              <a:gd name="connsiteX17" fmla="*/ 383046 w 657167"/>
              <a:gd name="connsiteY17" fmla="*/ 196528 h 330071"/>
              <a:gd name="connsiteX18" fmla="*/ 330658 w 657167"/>
              <a:gd name="connsiteY18" fmla="*/ 170334 h 330071"/>
              <a:gd name="connsiteX19" fmla="*/ 260175 w 657167"/>
              <a:gd name="connsiteY19" fmla="*/ 143821 h 330071"/>
              <a:gd name="connsiteX20" fmla="*/ 207026 w 657167"/>
              <a:gd name="connsiteY20" fmla="*/ 120646 h 330071"/>
              <a:gd name="connsiteX21" fmla="*/ 137798 w 657167"/>
              <a:gd name="connsiteY21" fmla="*/ 110493 h 330071"/>
              <a:gd name="connsiteX22" fmla="*/ 73325 w 657167"/>
              <a:gd name="connsiteY22" fmla="*/ 99542 h 330071"/>
              <a:gd name="connsiteX23" fmla="*/ 540 w 657167"/>
              <a:gd name="connsiteY23" fmla="*/ 97824 h 330071"/>
              <a:gd name="connsiteX24" fmla="*/ 0 w 657167"/>
              <a:gd name="connsiteY24" fmla="*/ 0 h 330071"/>
              <a:gd name="connsiteX0" fmla="*/ 0 w 657305"/>
              <a:gd name="connsiteY0" fmla="*/ 0 h 330071"/>
              <a:gd name="connsiteX1" fmla="*/ 63998 w 657305"/>
              <a:gd name="connsiteY1" fmla="*/ 2353 h 330071"/>
              <a:gd name="connsiteX2" fmla="*/ 112904 w 657305"/>
              <a:gd name="connsiteY2" fmla="*/ 6943 h 330071"/>
              <a:gd name="connsiteX3" fmla="*/ 154195 w 657305"/>
              <a:gd name="connsiteY3" fmla="*/ 16461 h 330071"/>
              <a:gd name="connsiteX4" fmla="*/ 222289 w 657305"/>
              <a:gd name="connsiteY4" fmla="*/ 31599 h 330071"/>
              <a:gd name="connsiteX5" fmla="*/ 298331 w 657305"/>
              <a:gd name="connsiteY5" fmla="*/ 52817 h 330071"/>
              <a:gd name="connsiteX6" fmla="*/ 348670 w 657305"/>
              <a:gd name="connsiteY6" fmla="*/ 74398 h 330071"/>
              <a:gd name="connsiteX7" fmla="*/ 400743 w 657305"/>
              <a:gd name="connsiteY7" fmla="*/ 98049 h 330071"/>
              <a:gd name="connsiteX8" fmla="*/ 451718 w 657305"/>
              <a:gd name="connsiteY8" fmla="*/ 127094 h 330071"/>
              <a:gd name="connsiteX9" fmla="*/ 508885 w 657305"/>
              <a:gd name="connsiteY9" fmla="*/ 162013 h 330071"/>
              <a:gd name="connsiteX10" fmla="*/ 543510 w 657305"/>
              <a:gd name="connsiteY10" fmla="*/ 186458 h 330071"/>
              <a:gd name="connsiteX11" fmla="*/ 583852 w 657305"/>
              <a:gd name="connsiteY11" fmla="*/ 220110 h 330071"/>
              <a:gd name="connsiteX12" fmla="*/ 657167 w 657305"/>
              <a:gd name="connsiteY12" fmla="*/ 284700 h 330071"/>
              <a:gd name="connsiteX13" fmla="*/ 563886 w 657305"/>
              <a:gd name="connsiteY13" fmla="*/ 330071 h 330071"/>
              <a:gd name="connsiteX14" fmla="*/ 523546 w 657305"/>
              <a:gd name="connsiteY14" fmla="*/ 290484 h 330071"/>
              <a:gd name="connsiteX15" fmla="*/ 450710 w 657305"/>
              <a:gd name="connsiteY15" fmla="*/ 235589 h 330071"/>
              <a:gd name="connsiteX16" fmla="*/ 383046 w 657305"/>
              <a:gd name="connsiteY16" fmla="*/ 196528 h 330071"/>
              <a:gd name="connsiteX17" fmla="*/ 330658 w 657305"/>
              <a:gd name="connsiteY17" fmla="*/ 170334 h 330071"/>
              <a:gd name="connsiteX18" fmla="*/ 260175 w 657305"/>
              <a:gd name="connsiteY18" fmla="*/ 143821 h 330071"/>
              <a:gd name="connsiteX19" fmla="*/ 207026 w 657305"/>
              <a:gd name="connsiteY19" fmla="*/ 120646 h 330071"/>
              <a:gd name="connsiteX20" fmla="*/ 137798 w 657305"/>
              <a:gd name="connsiteY20" fmla="*/ 110493 h 330071"/>
              <a:gd name="connsiteX21" fmla="*/ 73325 w 657305"/>
              <a:gd name="connsiteY21" fmla="*/ 99542 h 330071"/>
              <a:gd name="connsiteX22" fmla="*/ 540 w 657305"/>
              <a:gd name="connsiteY22" fmla="*/ 97824 h 330071"/>
              <a:gd name="connsiteX23" fmla="*/ 0 w 657305"/>
              <a:gd name="connsiteY23" fmla="*/ 0 h 330071"/>
              <a:gd name="connsiteX0" fmla="*/ 0 w 657167"/>
              <a:gd name="connsiteY0" fmla="*/ 0 h 330071"/>
              <a:gd name="connsiteX1" fmla="*/ 63998 w 657167"/>
              <a:gd name="connsiteY1" fmla="*/ 2353 h 330071"/>
              <a:gd name="connsiteX2" fmla="*/ 112904 w 657167"/>
              <a:gd name="connsiteY2" fmla="*/ 6943 h 330071"/>
              <a:gd name="connsiteX3" fmla="*/ 154195 w 657167"/>
              <a:gd name="connsiteY3" fmla="*/ 16461 h 330071"/>
              <a:gd name="connsiteX4" fmla="*/ 222289 w 657167"/>
              <a:gd name="connsiteY4" fmla="*/ 31599 h 330071"/>
              <a:gd name="connsiteX5" fmla="*/ 298331 w 657167"/>
              <a:gd name="connsiteY5" fmla="*/ 52817 h 330071"/>
              <a:gd name="connsiteX6" fmla="*/ 348670 w 657167"/>
              <a:gd name="connsiteY6" fmla="*/ 74398 h 330071"/>
              <a:gd name="connsiteX7" fmla="*/ 400743 w 657167"/>
              <a:gd name="connsiteY7" fmla="*/ 98049 h 330071"/>
              <a:gd name="connsiteX8" fmla="*/ 451718 w 657167"/>
              <a:gd name="connsiteY8" fmla="*/ 127094 h 330071"/>
              <a:gd name="connsiteX9" fmla="*/ 508885 w 657167"/>
              <a:gd name="connsiteY9" fmla="*/ 162013 h 330071"/>
              <a:gd name="connsiteX10" fmla="*/ 543510 w 657167"/>
              <a:gd name="connsiteY10" fmla="*/ 186458 h 330071"/>
              <a:gd name="connsiteX11" fmla="*/ 583852 w 657167"/>
              <a:gd name="connsiteY11" fmla="*/ 220110 h 330071"/>
              <a:gd name="connsiteX12" fmla="*/ 657167 w 657167"/>
              <a:gd name="connsiteY12" fmla="*/ 284700 h 330071"/>
              <a:gd name="connsiteX13" fmla="*/ 563886 w 657167"/>
              <a:gd name="connsiteY13" fmla="*/ 330071 h 330071"/>
              <a:gd name="connsiteX14" fmla="*/ 523546 w 657167"/>
              <a:gd name="connsiteY14" fmla="*/ 290484 h 330071"/>
              <a:gd name="connsiteX15" fmla="*/ 450710 w 657167"/>
              <a:gd name="connsiteY15" fmla="*/ 235589 h 330071"/>
              <a:gd name="connsiteX16" fmla="*/ 383046 w 657167"/>
              <a:gd name="connsiteY16" fmla="*/ 196528 h 330071"/>
              <a:gd name="connsiteX17" fmla="*/ 330658 w 657167"/>
              <a:gd name="connsiteY17" fmla="*/ 170334 h 330071"/>
              <a:gd name="connsiteX18" fmla="*/ 260175 w 657167"/>
              <a:gd name="connsiteY18" fmla="*/ 143821 h 330071"/>
              <a:gd name="connsiteX19" fmla="*/ 207026 w 657167"/>
              <a:gd name="connsiteY19" fmla="*/ 120646 h 330071"/>
              <a:gd name="connsiteX20" fmla="*/ 137798 w 657167"/>
              <a:gd name="connsiteY20" fmla="*/ 110493 h 330071"/>
              <a:gd name="connsiteX21" fmla="*/ 73325 w 657167"/>
              <a:gd name="connsiteY21" fmla="*/ 99542 h 330071"/>
              <a:gd name="connsiteX22" fmla="*/ 540 w 657167"/>
              <a:gd name="connsiteY22" fmla="*/ 97824 h 330071"/>
              <a:gd name="connsiteX23" fmla="*/ 0 w 657167"/>
              <a:gd name="connsiteY23" fmla="*/ 0 h 330071"/>
              <a:gd name="connsiteX0" fmla="*/ 0 w 636152"/>
              <a:gd name="connsiteY0" fmla="*/ 0 h 330071"/>
              <a:gd name="connsiteX1" fmla="*/ 63998 w 636152"/>
              <a:gd name="connsiteY1" fmla="*/ 2353 h 330071"/>
              <a:gd name="connsiteX2" fmla="*/ 112904 w 636152"/>
              <a:gd name="connsiteY2" fmla="*/ 6943 h 330071"/>
              <a:gd name="connsiteX3" fmla="*/ 154195 w 636152"/>
              <a:gd name="connsiteY3" fmla="*/ 16461 h 330071"/>
              <a:gd name="connsiteX4" fmla="*/ 222289 w 636152"/>
              <a:gd name="connsiteY4" fmla="*/ 31599 h 330071"/>
              <a:gd name="connsiteX5" fmla="*/ 298331 w 636152"/>
              <a:gd name="connsiteY5" fmla="*/ 52817 h 330071"/>
              <a:gd name="connsiteX6" fmla="*/ 348670 w 636152"/>
              <a:gd name="connsiteY6" fmla="*/ 74398 h 330071"/>
              <a:gd name="connsiteX7" fmla="*/ 400743 w 636152"/>
              <a:gd name="connsiteY7" fmla="*/ 98049 h 330071"/>
              <a:gd name="connsiteX8" fmla="*/ 451718 w 636152"/>
              <a:gd name="connsiteY8" fmla="*/ 127094 h 330071"/>
              <a:gd name="connsiteX9" fmla="*/ 508885 w 636152"/>
              <a:gd name="connsiteY9" fmla="*/ 162013 h 330071"/>
              <a:gd name="connsiteX10" fmla="*/ 543510 w 636152"/>
              <a:gd name="connsiteY10" fmla="*/ 186458 h 330071"/>
              <a:gd name="connsiteX11" fmla="*/ 583852 w 636152"/>
              <a:gd name="connsiteY11" fmla="*/ 220110 h 330071"/>
              <a:gd name="connsiteX12" fmla="*/ 636152 w 636152"/>
              <a:gd name="connsiteY12" fmla="*/ 267506 h 330071"/>
              <a:gd name="connsiteX13" fmla="*/ 563886 w 636152"/>
              <a:gd name="connsiteY13" fmla="*/ 330071 h 330071"/>
              <a:gd name="connsiteX14" fmla="*/ 523546 w 636152"/>
              <a:gd name="connsiteY14" fmla="*/ 290484 h 330071"/>
              <a:gd name="connsiteX15" fmla="*/ 450710 w 636152"/>
              <a:gd name="connsiteY15" fmla="*/ 235589 h 330071"/>
              <a:gd name="connsiteX16" fmla="*/ 383046 w 636152"/>
              <a:gd name="connsiteY16" fmla="*/ 196528 h 330071"/>
              <a:gd name="connsiteX17" fmla="*/ 330658 w 636152"/>
              <a:gd name="connsiteY17" fmla="*/ 170334 h 330071"/>
              <a:gd name="connsiteX18" fmla="*/ 260175 w 636152"/>
              <a:gd name="connsiteY18" fmla="*/ 143821 h 330071"/>
              <a:gd name="connsiteX19" fmla="*/ 207026 w 636152"/>
              <a:gd name="connsiteY19" fmla="*/ 120646 h 330071"/>
              <a:gd name="connsiteX20" fmla="*/ 137798 w 636152"/>
              <a:gd name="connsiteY20" fmla="*/ 110493 h 330071"/>
              <a:gd name="connsiteX21" fmla="*/ 73325 w 636152"/>
              <a:gd name="connsiteY21" fmla="*/ 99542 h 330071"/>
              <a:gd name="connsiteX22" fmla="*/ 540 w 636152"/>
              <a:gd name="connsiteY22" fmla="*/ 97824 h 330071"/>
              <a:gd name="connsiteX23" fmla="*/ 0 w 636152"/>
              <a:gd name="connsiteY23" fmla="*/ 0 h 330071"/>
              <a:gd name="connsiteX0" fmla="*/ 0 w 630420"/>
              <a:gd name="connsiteY0" fmla="*/ 0 h 330071"/>
              <a:gd name="connsiteX1" fmla="*/ 63998 w 630420"/>
              <a:gd name="connsiteY1" fmla="*/ 2353 h 330071"/>
              <a:gd name="connsiteX2" fmla="*/ 112904 w 630420"/>
              <a:gd name="connsiteY2" fmla="*/ 6943 h 330071"/>
              <a:gd name="connsiteX3" fmla="*/ 154195 w 630420"/>
              <a:gd name="connsiteY3" fmla="*/ 16461 h 330071"/>
              <a:gd name="connsiteX4" fmla="*/ 222289 w 630420"/>
              <a:gd name="connsiteY4" fmla="*/ 31599 h 330071"/>
              <a:gd name="connsiteX5" fmla="*/ 298331 w 630420"/>
              <a:gd name="connsiteY5" fmla="*/ 52817 h 330071"/>
              <a:gd name="connsiteX6" fmla="*/ 348670 w 630420"/>
              <a:gd name="connsiteY6" fmla="*/ 74398 h 330071"/>
              <a:gd name="connsiteX7" fmla="*/ 400743 w 630420"/>
              <a:gd name="connsiteY7" fmla="*/ 98049 h 330071"/>
              <a:gd name="connsiteX8" fmla="*/ 451718 w 630420"/>
              <a:gd name="connsiteY8" fmla="*/ 127094 h 330071"/>
              <a:gd name="connsiteX9" fmla="*/ 508885 w 630420"/>
              <a:gd name="connsiteY9" fmla="*/ 162013 h 330071"/>
              <a:gd name="connsiteX10" fmla="*/ 543510 w 630420"/>
              <a:gd name="connsiteY10" fmla="*/ 186458 h 330071"/>
              <a:gd name="connsiteX11" fmla="*/ 583852 w 630420"/>
              <a:gd name="connsiteY11" fmla="*/ 220110 h 330071"/>
              <a:gd name="connsiteX12" fmla="*/ 630420 w 630420"/>
              <a:gd name="connsiteY12" fmla="*/ 263686 h 330071"/>
              <a:gd name="connsiteX13" fmla="*/ 563886 w 630420"/>
              <a:gd name="connsiteY13" fmla="*/ 330071 h 330071"/>
              <a:gd name="connsiteX14" fmla="*/ 523546 w 630420"/>
              <a:gd name="connsiteY14" fmla="*/ 290484 h 330071"/>
              <a:gd name="connsiteX15" fmla="*/ 450710 w 630420"/>
              <a:gd name="connsiteY15" fmla="*/ 235589 h 330071"/>
              <a:gd name="connsiteX16" fmla="*/ 383046 w 630420"/>
              <a:gd name="connsiteY16" fmla="*/ 196528 h 330071"/>
              <a:gd name="connsiteX17" fmla="*/ 330658 w 630420"/>
              <a:gd name="connsiteY17" fmla="*/ 170334 h 330071"/>
              <a:gd name="connsiteX18" fmla="*/ 260175 w 630420"/>
              <a:gd name="connsiteY18" fmla="*/ 143821 h 330071"/>
              <a:gd name="connsiteX19" fmla="*/ 207026 w 630420"/>
              <a:gd name="connsiteY19" fmla="*/ 120646 h 330071"/>
              <a:gd name="connsiteX20" fmla="*/ 137798 w 630420"/>
              <a:gd name="connsiteY20" fmla="*/ 110493 h 330071"/>
              <a:gd name="connsiteX21" fmla="*/ 73325 w 630420"/>
              <a:gd name="connsiteY21" fmla="*/ 99542 h 330071"/>
              <a:gd name="connsiteX22" fmla="*/ 540 w 630420"/>
              <a:gd name="connsiteY22" fmla="*/ 97824 h 330071"/>
              <a:gd name="connsiteX23" fmla="*/ 0 w 630420"/>
              <a:gd name="connsiteY23" fmla="*/ 0 h 330071"/>
              <a:gd name="connsiteX0" fmla="*/ 0 w 630420"/>
              <a:gd name="connsiteY0" fmla="*/ 0 h 316698"/>
              <a:gd name="connsiteX1" fmla="*/ 63998 w 630420"/>
              <a:gd name="connsiteY1" fmla="*/ 2353 h 316698"/>
              <a:gd name="connsiteX2" fmla="*/ 112904 w 630420"/>
              <a:gd name="connsiteY2" fmla="*/ 6943 h 316698"/>
              <a:gd name="connsiteX3" fmla="*/ 154195 w 630420"/>
              <a:gd name="connsiteY3" fmla="*/ 16461 h 316698"/>
              <a:gd name="connsiteX4" fmla="*/ 222289 w 630420"/>
              <a:gd name="connsiteY4" fmla="*/ 31599 h 316698"/>
              <a:gd name="connsiteX5" fmla="*/ 298331 w 630420"/>
              <a:gd name="connsiteY5" fmla="*/ 52817 h 316698"/>
              <a:gd name="connsiteX6" fmla="*/ 348670 w 630420"/>
              <a:gd name="connsiteY6" fmla="*/ 74398 h 316698"/>
              <a:gd name="connsiteX7" fmla="*/ 400743 w 630420"/>
              <a:gd name="connsiteY7" fmla="*/ 98049 h 316698"/>
              <a:gd name="connsiteX8" fmla="*/ 451718 w 630420"/>
              <a:gd name="connsiteY8" fmla="*/ 127094 h 316698"/>
              <a:gd name="connsiteX9" fmla="*/ 508885 w 630420"/>
              <a:gd name="connsiteY9" fmla="*/ 162013 h 316698"/>
              <a:gd name="connsiteX10" fmla="*/ 543510 w 630420"/>
              <a:gd name="connsiteY10" fmla="*/ 186458 h 316698"/>
              <a:gd name="connsiteX11" fmla="*/ 583852 w 630420"/>
              <a:gd name="connsiteY11" fmla="*/ 220110 h 316698"/>
              <a:gd name="connsiteX12" fmla="*/ 630420 w 630420"/>
              <a:gd name="connsiteY12" fmla="*/ 263686 h 316698"/>
              <a:gd name="connsiteX13" fmla="*/ 550513 w 630420"/>
              <a:gd name="connsiteY13" fmla="*/ 316698 h 316698"/>
              <a:gd name="connsiteX14" fmla="*/ 523546 w 630420"/>
              <a:gd name="connsiteY14" fmla="*/ 290484 h 316698"/>
              <a:gd name="connsiteX15" fmla="*/ 450710 w 630420"/>
              <a:gd name="connsiteY15" fmla="*/ 235589 h 316698"/>
              <a:gd name="connsiteX16" fmla="*/ 383046 w 630420"/>
              <a:gd name="connsiteY16" fmla="*/ 196528 h 316698"/>
              <a:gd name="connsiteX17" fmla="*/ 330658 w 630420"/>
              <a:gd name="connsiteY17" fmla="*/ 170334 h 316698"/>
              <a:gd name="connsiteX18" fmla="*/ 260175 w 630420"/>
              <a:gd name="connsiteY18" fmla="*/ 143821 h 316698"/>
              <a:gd name="connsiteX19" fmla="*/ 207026 w 630420"/>
              <a:gd name="connsiteY19" fmla="*/ 120646 h 316698"/>
              <a:gd name="connsiteX20" fmla="*/ 137798 w 630420"/>
              <a:gd name="connsiteY20" fmla="*/ 110493 h 316698"/>
              <a:gd name="connsiteX21" fmla="*/ 73325 w 630420"/>
              <a:gd name="connsiteY21" fmla="*/ 99542 h 316698"/>
              <a:gd name="connsiteX22" fmla="*/ 540 w 630420"/>
              <a:gd name="connsiteY22" fmla="*/ 97824 h 316698"/>
              <a:gd name="connsiteX23" fmla="*/ 0 w 630420"/>
              <a:gd name="connsiteY23" fmla="*/ 0 h 316698"/>
              <a:gd name="connsiteX0" fmla="*/ 0 w 630420"/>
              <a:gd name="connsiteY0" fmla="*/ 0 h 316698"/>
              <a:gd name="connsiteX1" fmla="*/ 63998 w 630420"/>
              <a:gd name="connsiteY1" fmla="*/ 2353 h 316698"/>
              <a:gd name="connsiteX2" fmla="*/ 112904 w 630420"/>
              <a:gd name="connsiteY2" fmla="*/ 6943 h 316698"/>
              <a:gd name="connsiteX3" fmla="*/ 154195 w 630420"/>
              <a:gd name="connsiteY3" fmla="*/ 16461 h 316698"/>
              <a:gd name="connsiteX4" fmla="*/ 222289 w 630420"/>
              <a:gd name="connsiteY4" fmla="*/ 31599 h 316698"/>
              <a:gd name="connsiteX5" fmla="*/ 298331 w 630420"/>
              <a:gd name="connsiteY5" fmla="*/ 52817 h 316698"/>
              <a:gd name="connsiteX6" fmla="*/ 348670 w 630420"/>
              <a:gd name="connsiteY6" fmla="*/ 74398 h 316698"/>
              <a:gd name="connsiteX7" fmla="*/ 400743 w 630420"/>
              <a:gd name="connsiteY7" fmla="*/ 98049 h 316698"/>
              <a:gd name="connsiteX8" fmla="*/ 451718 w 630420"/>
              <a:gd name="connsiteY8" fmla="*/ 127094 h 316698"/>
              <a:gd name="connsiteX9" fmla="*/ 508885 w 630420"/>
              <a:gd name="connsiteY9" fmla="*/ 162013 h 316698"/>
              <a:gd name="connsiteX10" fmla="*/ 543510 w 630420"/>
              <a:gd name="connsiteY10" fmla="*/ 186458 h 316698"/>
              <a:gd name="connsiteX11" fmla="*/ 583852 w 630420"/>
              <a:gd name="connsiteY11" fmla="*/ 220110 h 316698"/>
              <a:gd name="connsiteX12" fmla="*/ 630420 w 630420"/>
              <a:gd name="connsiteY12" fmla="*/ 263686 h 316698"/>
              <a:gd name="connsiteX13" fmla="*/ 550513 w 630420"/>
              <a:gd name="connsiteY13" fmla="*/ 316698 h 316698"/>
              <a:gd name="connsiteX14" fmla="*/ 506352 w 630420"/>
              <a:gd name="connsiteY14" fmla="*/ 273289 h 316698"/>
              <a:gd name="connsiteX15" fmla="*/ 450710 w 630420"/>
              <a:gd name="connsiteY15" fmla="*/ 235589 h 316698"/>
              <a:gd name="connsiteX16" fmla="*/ 383046 w 630420"/>
              <a:gd name="connsiteY16" fmla="*/ 196528 h 316698"/>
              <a:gd name="connsiteX17" fmla="*/ 330658 w 630420"/>
              <a:gd name="connsiteY17" fmla="*/ 170334 h 316698"/>
              <a:gd name="connsiteX18" fmla="*/ 260175 w 630420"/>
              <a:gd name="connsiteY18" fmla="*/ 143821 h 316698"/>
              <a:gd name="connsiteX19" fmla="*/ 207026 w 630420"/>
              <a:gd name="connsiteY19" fmla="*/ 120646 h 316698"/>
              <a:gd name="connsiteX20" fmla="*/ 137798 w 630420"/>
              <a:gd name="connsiteY20" fmla="*/ 110493 h 316698"/>
              <a:gd name="connsiteX21" fmla="*/ 73325 w 630420"/>
              <a:gd name="connsiteY21" fmla="*/ 99542 h 316698"/>
              <a:gd name="connsiteX22" fmla="*/ 540 w 630420"/>
              <a:gd name="connsiteY22" fmla="*/ 97824 h 316698"/>
              <a:gd name="connsiteX23" fmla="*/ 0 w 630420"/>
              <a:gd name="connsiteY23" fmla="*/ 0 h 316698"/>
              <a:gd name="connsiteX0" fmla="*/ 0 w 615136"/>
              <a:gd name="connsiteY0" fmla="*/ 0 h 316698"/>
              <a:gd name="connsiteX1" fmla="*/ 63998 w 615136"/>
              <a:gd name="connsiteY1" fmla="*/ 2353 h 316698"/>
              <a:gd name="connsiteX2" fmla="*/ 112904 w 615136"/>
              <a:gd name="connsiteY2" fmla="*/ 694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48402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1315"/>
              <a:gd name="connsiteY0" fmla="*/ 0 h 316698"/>
              <a:gd name="connsiteX1" fmla="*/ 63998 w 611315"/>
              <a:gd name="connsiteY1" fmla="*/ 2353 h 316698"/>
              <a:gd name="connsiteX2" fmla="*/ 112904 w 611315"/>
              <a:gd name="connsiteY2" fmla="*/ 6943 h 316698"/>
              <a:gd name="connsiteX3" fmla="*/ 154195 w 611315"/>
              <a:gd name="connsiteY3" fmla="*/ 16461 h 316698"/>
              <a:gd name="connsiteX4" fmla="*/ 222289 w 611315"/>
              <a:gd name="connsiteY4" fmla="*/ 31599 h 316698"/>
              <a:gd name="connsiteX5" fmla="*/ 298331 w 611315"/>
              <a:gd name="connsiteY5" fmla="*/ 52817 h 316698"/>
              <a:gd name="connsiteX6" fmla="*/ 348670 w 611315"/>
              <a:gd name="connsiteY6" fmla="*/ 74398 h 316698"/>
              <a:gd name="connsiteX7" fmla="*/ 400743 w 611315"/>
              <a:gd name="connsiteY7" fmla="*/ 98049 h 316698"/>
              <a:gd name="connsiteX8" fmla="*/ 451718 w 611315"/>
              <a:gd name="connsiteY8" fmla="*/ 127094 h 316698"/>
              <a:gd name="connsiteX9" fmla="*/ 508885 w 611315"/>
              <a:gd name="connsiteY9" fmla="*/ 162013 h 316698"/>
              <a:gd name="connsiteX10" fmla="*/ 543510 w 611315"/>
              <a:gd name="connsiteY10" fmla="*/ 186458 h 316698"/>
              <a:gd name="connsiteX11" fmla="*/ 583852 w 611315"/>
              <a:gd name="connsiteY11" fmla="*/ 220110 h 316698"/>
              <a:gd name="connsiteX12" fmla="*/ 611315 w 611315"/>
              <a:gd name="connsiteY12" fmla="*/ 244582 h 316698"/>
              <a:gd name="connsiteX13" fmla="*/ 550513 w 611315"/>
              <a:gd name="connsiteY13" fmla="*/ 316698 h 316698"/>
              <a:gd name="connsiteX14" fmla="*/ 506352 w 611315"/>
              <a:gd name="connsiteY14" fmla="*/ 273289 h 316698"/>
              <a:gd name="connsiteX15" fmla="*/ 450710 w 611315"/>
              <a:gd name="connsiteY15" fmla="*/ 235589 h 316698"/>
              <a:gd name="connsiteX16" fmla="*/ 383046 w 611315"/>
              <a:gd name="connsiteY16" fmla="*/ 196528 h 316698"/>
              <a:gd name="connsiteX17" fmla="*/ 330658 w 611315"/>
              <a:gd name="connsiteY17" fmla="*/ 170334 h 316698"/>
              <a:gd name="connsiteX18" fmla="*/ 260175 w 611315"/>
              <a:gd name="connsiteY18" fmla="*/ 143821 h 316698"/>
              <a:gd name="connsiteX19" fmla="*/ 207026 w 611315"/>
              <a:gd name="connsiteY19" fmla="*/ 120646 h 316698"/>
              <a:gd name="connsiteX20" fmla="*/ 137798 w 611315"/>
              <a:gd name="connsiteY20" fmla="*/ 110493 h 316698"/>
              <a:gd name="connsiteX21" fmla="*/ 73325 w 611315"/>
              <a:gd name="connsiteY21" fmla="*/ 99542 h 316698"/>
              <a:gd name="connsiteX22" fmla="*/ 540 w 611315"/>
              <a:gd name="connsiteY22" fmla="*/ 97824 h 316698"/>
              <a:gd name="connsiteX23" fmla="*/ 0 w 611315"/>
              <a:gd name="connsiteY23" fmla="*/ 0 h 316698"/>
              <a:gd name="connsiteX0" fmla="*/ 0 w 615136"/>
              <a:gd name="connsiteY0" fmla="*/ 0 h 316698"/>
              <a:gd name="connsiteX1" fmla="*/ 63998 w 615136"/>
              <a:gd name="connsiteY1" fmla="*/ 2353 h 316698"/>
              <a:gd name="connsiteX2" fmla="*/ 112904 w 615136"/>
              <a:gd name="connsiteY2" fmla="*/ 694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50313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5136"/>
              <a:gd name="connsiteY0" fmla="*/ 0 h 316698"/>
              <a:gd name="connsiteX1" fmla="*/ 63998 w 615136"/>
              <a:gd name="connsiteY1" fmla="*/ 2353 h 316698"/>
              <a:gd name="connsiteX2" fmla="*/ 110993 w 615136"/>
              <a:gd name="connsiteY2" fmla="*/ 885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50313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5136"/>
              <a:gd name="connsiteY0" fmla="*/ 0 h 316698"/>
              <a:gd name="connsiteX1" fmla="*/ 58266 w 615136"/>
              <a:gd name="connsiteY1" fmla="*/ 4263 h 316698"/>
              <a:gd name="connsiteX2" fmla="*/ 110993 w 615136"/>
              <a:gd name="connsiteY2" fmla="*/ 885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50313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5136"/>
              <a:gd name="connsiteY0" fmla="*/ 1469 h 312435"/>
              <a:gd name="connsiteX1" fmla="*/ 58266 w 615136"/>
              <a:gd name="connsiteY1" fmla="*/ 0 h 312435"/>
              <a:gd name="connsiteX2" fmla="*/ 110993 w 615136"/>
              <a:gd name="connsiteY2" fmla="*/ 4590 h 312435"/>
              <a:gd name="connsiteX3" fmla="*/ 154195 w 615136"/>
              <a:gd name="connsiteY3" fmla="*/ 12198 h 312435"/>
              <a:gd name="connsiteX4" fmla="*/ 222289 w 615136"/>
              <a:gd name="connsiteY4" fmla="*/ 27336 h 312435"/>
              <a:gd name="connsiteX5" fmla="*/ 298331 w 615136"/>
              <a:gd name="connsiteY5" fmla="*/ 48554 h 312435"/>
              <a:gd name="connsiteX6" fmla="*/ 348670 w 615136"/>
              <a:gd name="connsiteY6" fmla="*/ 70135 h 312435"/>
              <a:gd name="connsiteX7" fmla="*/ 400743 w 615136"/>
              <a:gd name="connsiteY7" fmla="*/ 93786 h 312435"/>
              <a:gd name="connsiteX8" fmla="*/ 451718 w 615136"/>
              <a:gd name="connsiteY8" fmla="*/ 122831 h 312435"/>
              <a:gd name="connsiteX9" fmla="*/ 508885 w 615136"/>
              <a:gd name="connsiteY9" fmla="*/ 157750 h 312435"/>
              <a:gd name="connsiteX10" fmla="*/ 543510 w 615136"/>
              <a:gd name="connsiteY10" fmla="*/ 182195 h 312435"/>
              <a:gd name="connsiteX11" fmla="*/ 583852 w 615136"/>
              <a:gd name="connsiteY11" fmla="*/ 215847 h 312435"/>
              <a:gd name="connsiteX12" fmla="*/ 615136 w 615136"/>
              <a:gd name="connsiteY12" fmla="*/ 246050 h 312435"/>
              <a:gd name="connsiteX13" fmla="*/ 550513 w 615136"/>
              <a:gd name="connsiteY13" fmla="*/ 312435 h 312435"/>
              <a:gd name="connsiteX14" fmla="*/ 506352 w 615136"/>
              <a:gd name="connsiteY14" fmla="*/ 269026 h 312435"/>
              <a:gd name="connsiteX15" fmla="*/ 450710 w 615136"/>
              <a:gd name="connsiteY15" fmla="*/ 231326 h 312435"/>
              <a:gd name="connsiteX16" fmla="*/ 383046 w 615136"/>
              <a:gd name="connsiteY16" fmla="*/ 192265 h 312435"/>
              <a:gd name="connsiteX17" fmla="*/ 330658 w 615136"/>
              <a:gd name="connsiteY17" fmla="*/ 166071 h 312435"/>
              <a:gd name="connsiteX18" fmla="*/ 260175 w 615136"/>
              <a:gd name="connsiteY18" fmla="*/ 139558 h 312435"/>
              <a:gd name="connsiteX19" fmla="*/ 207026 w 615136"/>
              <a:gd name="connsiteY19" fmla="*/ 116383 h 312435"/>
              <a:gd name="connsiteX20" fmla="*/ 137798 w 615136"/>
              <a:gd name="connsiteY20" fmla="*/ 106230 h 312435"/>
              <a:gd name="connsiteX21" fmla="*/ 73325 w 615136"/>
              <a:gd name="connsiteY21" fmla="*/ 95279 h 312435"/>
              <a:gd name="connsiteX22" fmla="*/ 540 w 615136"/>
              <a:gd name="connsiteY22" fmla="*/ 93561 h 312435"/>
              <a:gd name="connsiteX23" fmla="*/ 0 w 615136"/>
              <a:gd name="connsiteY23" fmla="*/ 1469 h 312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15136" h="312435">
                <a:moveTo>
                  <a:pt x="0" y="1469"/>
                </a:moveTo>
                <a:lnTo>
                  <a:pt x="58266" y="0"/>
                </a:lnTo>
                <a:lnTo>
                  <a:pt x="110993" y="4590"/>
                </a:lnTo>
                <a:lnTo>
                  <a:pt x="154195" y="12198"/>
                </a:lnTo>
                <a:lnTo>
                  <a:pt x="222289" y="27336"/>
                </a:lnTo>
                <a:lnTo>
                  <a:pt x="298331" y="48554"/>
                </a:lnTo>
                <a:lnTo>
                  <a:pt x="348670" y="70135"/>
                </a:lnTo>
                <a:lnTo>
                  <a:pt x="400743" y="93786"/>
                </a:lnTo>
                <a:lnTo>
                  <a:pt x="451718" y="122831"/>
                </a:lnTo>
                <a:lnTo>
                  <a:pt x="508885" y="157750"/>
                </a:lnTo>
                <a:lnTo>
                  <a:pt x="543510" y="182195"/>
                </a:lnTo>
                <a:lnTo>
                  <a:pt x="583852" y="215847"/>
                </a:lnTo>
                <a:lnTo>
                  <a:pt x="615136" y="246050"/>
                </a:lnTo>
                <a:lnTo>
                  <a:pt x="550513" y="312435"/>
                </a:lnTo>
                <a:lnTo>
                  <a:pt x="506352" y="269026"/>
                </a:lnTo>
                <a:lnTo>
                  <a:pt x="450710" y="231326"/>
                </a:lnTo>
                <a:cubicBezTo>
                  <a:pt x="429279" y="216642"/>
                  <a:pt x="403055" y="203141"/>
                  <a:pt x="383046" y="192265"/>
                </a:cubicBezTo>
                <a:cubicBezTo>
                  <a:pt x="363037" y="181389"/>
                  <a:pt x="350899" y="174008"/>
                  <a:pt x="330658" y="166071"/>
                </a:cubicBezTo>
                <a:cubicBezTo>
                  <a:pt x="307639" y="158927"/>
                  <a:pt x="283194" y="146702"/>
                  <a:pt x="260175" y="139558"/>
                </a:cubicBezTo>
                <a:lnTo>
                  <a:pt x="207026" y="116383"/>
                </a:lnTo>
                <a:lnTo>
                  <a:pt x="137798" y="106230"/>
                </a:lnTo>
                <a:lnTo>
                  <a:pt x="73325" y="95279"/>
                </a:lnTo>
                <a:lnTo>
                  <a:pt x="540" y="93561"/>
                </a:lnTo>
                <a:cubicBezTo>
                  <a:pt x="-1047" y="-38769"/>
                  <a:pt x="1587" y="133799"/>
                  <a:pt x="0" y="1469"/>
                </a:cubicBezTo>
                <a:close/>
              </a:path>
            </a:pathLst>
          </a:cu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Прямоугольник 21"/>
          <p:cNvSpPr/>
          <p:nvPr/>
        </p:nvSpPr>
        <p:spPr>
          <a:xfrm>
            <a:off x="1567031" y="2609590"/>
            <a:ext cx="766727" cy="389429"/>
          </a:xfrm>
          <a:custGeom>
            <a:avLst/>
            <a:gdLst>
              <a:gd name="connsiteX0" fmla="*/ 0 w 865598"/>
              <a:gd name="connsiteY0" fmla="*/ 0 h 627970"/>
              <a:gd name="connsiteX1" fmla="*/ 865598 w 865598"/>
              <a:gd name="connsiteY1" fmla="*/ 0 h 627970"/>
              <a:gd name="connsiteX2" fmla="*/ 865598 w 865598"/>
              <a:gd name="connsiteY2" fmla="*/ 627970 h 627970"/>
              <a:gd name="connsiteX3" fmla="*/ 0 w 865598"/>
              <a:gd name="connsiteY3" fmla="*/ 627970 h 627970"/>
              <a:gd name="connsiteX4" fmla="*/ 0 w 865598"/>
              <a:gd name="connsiteY4" fmla="*/ 0 h 627970"/>
              <a:gd name="connsiteX0" fmla="*/ 0 w 865598"/>
              <a:gd name="connsiteY0" fmla="*/ 0 h 627970"/>
              <a:gd name="connsiteX1" fmla="*/ 865598 w 865598"/>
              <a:gd name="connsiteY1" fmla="*/ 0 h 627970"/>
              <a:gd name="connsiteX2" fmla="*/ 865598 w 865598"/>
              <a:gd name="connsiteY2" fmla="*/ 627970 h 627970"/>
              <a:gd name="connsiteX3" fmla="*/ 4762 w 865598"/>
              <a:gd name="connsiteY3" fmla="*/ 396989 h 627970"/>
              <a:gd name="connsiteX4" fmla="*/ 0 w 865598"/>
              <a:gd name="connsiteY4" fmla="*/ 0 h 627970"/>
              <a:gd name="connsiteX0" fmla="*/ 0 w 865598"/>
              <a:gd name="connsiteY0" fmla="*/ 0 h 632732"/>
              <a:gd name="connsiteX1" fmla="*/ 865598 w 865598"/>
              <a:gd name="connsiteY1" fmla="*/ 0 h 632732"/>
              <a:gd name="connsiteX2" fmla="*/ 582229 w 865598"/>
              <a:gd name="connsiteY2" fmla="*/ 632732 h 632732"/>
              <a:gd name="connsiteX3" fmla="*/ 4762 w 865598"/>
              <a:gd name="connsiteY3" fmla="*/ 396989 h 632732"/>
              <a:gd name="connsiteX4" fmla="*/ 0 w 865598"/>
              <a:gd name="connsiteY4" fmla="*/ 0 h 632732"/>
              <a:gd name="connsiteX0" fmla="*/ 0 w 870361"/>
              <a:gd name="connsiteY0" fmla="*/ 0 h 632732"/>
              <a:gd name="connsiteX1" fmla="*/ 870361 w 870361"/>
              <a:gd name="connsiteY1" fmla="*/ 359569 h 632732"/>
              <a:gd name="connsiteX2" fmla="*/ 582229 w 870361"/>
              <a:gd name="connsiteY2" fmla="*/ 632732 h 632732"/>
              <a:gd name="connsiteX3" fmla="*/ 4762 w 870361"/>
              <a:gd name="connsiteY3" fmla="*/ 396989 h 632732"/>
              <a:gd name="connsiteX4" fmla="*/ 0 w 870361"/>
              <a:gd name="connsiteY4" fmla="*/ 0 h 632732"/>
              <a:gd name="connsiteX0" fmla="*/ 0 w 863217"/>
              <a:gd name="connsiteY0" fmla="*/ 0 h 632732"/>
              <a:gd name="connsiteX1" fmla="*/ 863217 w 863217"/>
              <a:gd name="connsiteY1" fmla="*/ 350044 h 632732"/>
              <a:gd name="connsiteX2" fmla="*/ 582229 w 863217"/>
              <a:gd name="connsiteY2" fmla="*/ 632732 h 632732"/>
              <a:gd name="connsiteX3" fmla="*/ 4762 w 863217"/>
              <a:gd name="connsiteY3" fmla="*/ 396989 h 632732"/>
              <a:gd name="connsiteX4" fmla="*/ 0 w 863217"/>
              <a:gd name="connsiteY4" fmla="*/ 0 h 632732"/>
              <a:gd name="connsiteX0" fmla="*/ 0 w 867979"/>
              <a:gd name="connsiteY0" fmla="*/ 0 h 632732"/>
              <a:gd name="connsiteX1" fmla="*/ 867979 w 867979"/>
              <a:gd name="connsiteY1" fmla="*/ 361951 h 632732"/>
              <a:gd name="connsiteX2" fmla="*/ 582229 w 867979"/>
              <a:gd name="connsiteY2" fmla="*/ 632732 h 632732"/>
              <a:gd name="connsiteX3" fmla="*/ 4762 w 867979"/>
              <a:gd name="connsiteY3" fmla="*/ 396989 h 632732"/>
              <a:gd name="connsiteX4" fmla="*/ 0 w 867979"/>
              <a:gd name="connsiteY4" fmla="*/ 0 h 632732"/>
              <a:gd name="connsiteX0" fmla="*/ 0 w 867979"/>
              <a:gd name="connsiteY0" fmla="*/ 0 h 642257"/>
              <a:gd name="connsiteX1" fmla="*/ 867979 w 867979"/>
              <a:gd name="connsiteY1" fmla="*/ 361951 h 642257"/>
              <a:gd name="connsiteX2" fmla="*/ 594135 w 867979"/>
              <a:gd name="connsiteY2" fmla="*/ 642257 h 642257"/>
              <a:gd name="connsiteX3" fmla="*/ 4762 w 867979"/>
              <a:gd name="connsiteY3" fmla="*/ 396989 h 642257"/>
              <a:gd name="connsiteX4" fmla="*/ 0 w 867979"/>
              <a:gd name="connsiteY4" fmla="*/ 0 h 642257"/>
              <a:gd name="connsiteX0" fmla="*/ 0 w 867979"/>
              <a:gd name="connsiteY0" fmla="*/ 0 h 637494"/>
              <a:gd name="connsiteX1" fmla="*/ 867979 w 867979"/>
              <a:gd name="connsiteY1" fmla="*/ 361951 h 637494"/>
              <a:gd name="connsiteX2" fmla="*/ 591754 w 867979"/>
              <a:gd name="connsiteY2" fmla="*/ 637494 h 637494"/>
              <a:gd name="connsiteX3" fmla="*/ 4762 w 867979"/>
              <a:gd name="connsiteY3" fmla="*/ 396989 h 637494"/>
              <a:gd name="connsiteX4" fmla="*/ 0 w 867979"/>
              <a:gd name="connsiteY4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458 w 868438"/>
              <a:gd name="connsiteY3" fmla="*/ 392227 h 637494"/>
              <a:gd name="connsiteX4" fmla="*/ 459 w 868438"/>
              <a:gd name="connsiteY4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193875 w 868438"/>
              <a:gd name="connsiteY3" fmla="*/ 472048 h 637494"/>
              <a:gd name="connsiteX4" fmla="*/ 458 w 868438"/>
              <a:gd name="connsiteY4" fmla="*/ 392227 h 637494"/>
              <a:gd name="connsiteX5" fmla="*/ 459 w 868438"/>
              <a:gd name="connsiteY5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74813 w 868438"/>
              <a:gd name="connsiteY3" fmla="*/ 398230 h 637494"/>
              <a:gd name="connsiteX4" fmla="*/ 458 w 868438"/>
              <a:gd name="connsiteY4" fmla="*/ 392227 h 637494"/>
              <a:gd name="connsiteX5" fmla="*/ 459 w 868438"/>
              <a:gd name="connsiteY5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293888 w 868438"/>
              <a:gd name="connsiteY3" fmla="*/ 495860 h 637494"/>
              <a:gd name="connsiteX4" fmla="*/ 74813 w 868438"/>
              <a:gd name="connsiteY4" fmla="*/ 398230 h 637494"/>
              <a:gd name="connsiteX5" fmla="*/ 458 w 868438"/>
              <a:gd name="connsiteY5" fmla="*/ 392227 h 637494"/>
              <a:gd name="connsiteX6" fmla="*/ 459 w 868438"/>
              <a:gd name="connsiteY6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131963 w 868438"/>
              <a:gd name="connsiteY3" fmla="*/ 405373 h 637494"/>
              <a:gd name="connsiteX4" fmla="*/ 74813 w 868438"/>
              <a:gd name="connsiteY4" fmla="*/ 398230 h 637494"/>
              <a:gd name="connsiteX5" fmla="*/ 458 w 868438"/>
              <a:gd name="connsiteY5" fmla="*/ 392227 h 637494"/>
              <a:gd name="connsiteX6" fmla="*/ 459 w 868438"/>
              <a:gd name="connsiteY6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343894 w 868438"/>
              <a:gd name="connsiteY3" fmla="*/ 517291 h 637494"/>
              <a:gd name="connsiteX4" fmla="*/ 131963 w 868438"/>
              <a:gd name="connsiteY4" fmla="*/ 405373 h 637494"/>
              <a:gd name="connsiteX5" fmla="*/ 74813 w 868438"/>
              <a:gd name="connsiteY5" fmla="*/ 398230 h 637494"/>
              <a:gd name="connsiteX6" fmla="*/ 458 w 868438"/>
              <a:gd name="connsiteY6" fmla="*/ 392227 h 637494"/>
              <a:gd name="connsiteX7" fmla="*/ 459 w 868438"/>
              <a:gd name="connsiteY7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201019 w 868438"/>
              <a:gd name="connsiteY3" fmla="*/ 419659 h 637494"/>
              <a:gd name="connsiteX4" fmla="*/ 131963 w 868438"/>
              <a:gd name="connsiteY4" fmla="*/ 405373 h 637494"/>
              <a:gd name="connsiteX5" fmla="*/ 74813 w 868438"/>
              <a:gd name="connsiteY5" fmla="*/ 398230 h 637494"/>
              <a:gd name="connsiteX6" fmla="*/ 458 w 868438"/>
              <a:gd name="connsiteY6" fmla="*/ 392227 h 637494"/>
              <a:gd name="connsiteX7" fmla="*/ 459 w 868438"/>
              <a:gd name="connsiteY7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334369 w 868438"/>
              <a:gd name="connsiteY3" fmla="*/ 467285 h 637494"/>
              <a:gd name="connsiteX4" fmla="*/ 201019 w 868438"/>
              <a:gd name="connsiteY4" fmla="*/ 419659 h 637494"/>
              <a:gd name="connsiteX5" fmla="*/ 131963 w 868438"/>
              <a:gd name="connsiteY5" fmla="*/ 405373 h 637494"/>
              <a:gd name="connsiteX6" fmla="*/ 74813 w 868438"/>
              <a:gd name="connsiteY6" fmla="*/ 398230 h 637494"/>
              <a:gd name="connsiteX7" fmla="*/ 458 w 868438"/>
              <a:gd name="connsiteY7" fmla="*/ 392227 h 637494"/>
              <a:gd name="connsiteX8" fmla="*/ 459 w 868438"/>
              <a:gd name="connsiteY8" fmla="*/ 0 h 637494"/>
              <a:gd name="connsiteX0" fmla="*/ 459 w 868438"/>
              <a:gd name="connsiteY0" fmla="*/ 0 h 642205"/>
              <a:gd name="connsiteX1" fmla="*/ 868438 w 868438"/>
              <a:gd name="connsiteY1" fmla="*/ 361951 h 642205"/>
              <a:gd name="connsiteX2" fmla="*/ 592213 w 868438"/>
              <a:gd name="connsiteY2" fmla="*/ 637494 h 642205"/>
              <a:gd name="connsiteX3" fmla="*/ 451050 w 868438"/>
              <a:gd name="connsiteY3" fmla="*/ 524435 h 642205"/>
              <a:gd name="connsiteX4" fmla="*/ 334369 w 868438"/>
              <a:gd name="connsiteY4" fmla="*/ 467285 h 642205"/>
              <a:gd name="connsiteX5" fmla="*/ 201019 w 868438"/>
              <a:gd name="connsiteY5" fmla="*/ 419659 h 642205"/>
              <a:gd name="connsiteX6" fmla="*/ 131963 w 868438"/>
              <a:gd name="connsiteY6" fmla="*/ 405373 h 642205"/>
              <a:gd name="connsiteX7" fmla="*/ 74813 w 868438"/>
              <a:gd name="connsiteY7" fmla="*/ 398230 h 642205"/>
              <a:gd name="connsiteX8" fmla="*/ 458 w 868438"/>
              <a:gd name="connsiteY8" fmla="*/ 392227 h 642205"/>
              <a:gd name="connsiteX9" fmla="*/ 459 w 868438"/>
              <a:gd name="connsiteY9" fmla="*/ 0 h 642205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451050 w 868438"/>
              <a:gd name="connsiteY3" fmla="*/ 524435 h 637494"/>
              <a:gd name="connsiteX4" fmla="*/ 334369 w 868438"/>
              <a:gd name="connsiteY4" fmla="*/ 467285 h 637494"/>
              <a:gd name="connsiteX5" fmla="*/ 201019 w 868438"/>
              <a:gd name="connsiteY5" fmla="*/ 419659 h 637494"/>
              <a:gd name="connsiteX6" fmla="*/ 131963 w 868438"/>
              <a:gd name="connsiteY6" fmla="*/ 405373 h 637494"/>
              <a:gd name="connsiteX7" fmla="*/ 74813 w 868438"/>
              <a:gd name="connsiteY7" fmla="*/ 398230 h 637494"/>
              <a:gd name="connsiteX8" fmla="*/ 458 w 868438"/>
              <a:gd name="connsiteY8" fmla="*/ 392227 h 637494"/>
              <a:gd name="connsiteX9" fmla="*/ 459 w 868438"/>
              <a:gd name="connsiteY9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51050 w 868438"/>
              <a:gd name="connsiteY4" fmla="*/ 524435 h 637494"/>
              <a:gd name="connsiteX5" fmla="*/ 334369 w 868438"/>
              <a:gd name="connsiteY5" fmla="*/ 467285 h 637494"/>
              <a:gd name="connsiteX6" fmla="*/ 201019 w 868438"/>
              <a:gd name="connsiteY6" fmla="*/ 419659 h 637494"/>
              <a:gd name="connsiteX7" fmla="*/ 131963 w 868438"/>
              <a:gd name="connsiteY7" fmla="*/ 405373 h 637494"/>
              <a:gd name="connsiteX8" fmla="*/ 74813 w 868438"/>
              <a:gd name="connsiteY8" fmla="*/ 398230 h 637494"/>
              <a:gd name="connsiteX9" fmla="*/ 458 w 868438"/>
              <a:gd name="connsiteY9" fmla="*/ 392227 h 637494"/>
              <a:gd name="connsiteX10" fmla="*/ 459 w 868438"/>
              <a:gd name="connsiteY10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51050 w 868438"/>
              <a:gd name="connsiteY4" fmla="*/ 524435 h 637494"/>
              <a:gd name="connsiteX5" fmla="*/ 386757 w 868438"/>
              <a:gd name="connsiteY5" fmla="*/ 493479 h 637494"/>
              <a:gd name="connsiteX6" fmla="*/ 334369 w 868438"/>
              <a:gd name="connsiteY6" fmla="*/ 467285 h 637494"/>
              <a:gd name="connsiteX7" fmla="*/ 201019 w 868438"/>
              <a:gd name="connsiteY7" fmla="*/ 419659 h 637494"/>
              <a:gd name="connsiteX8" fmla="*/ 131963 w 868438"/>
              <a:gd name="connsiteY8" fmla="*/ 405373 h 637494"/>
              <a:gd name="connsiteX9" fmla="*/ 74813 w 868438"/>
              <a:gd name="connsiteY9" fmla="*/ 398230 h 637494"/>
              <a:gd name="connsiteX10" fmla="*/ 458 w 868438"/>
              <a:gd name="connsiteY10" fmla="*/ 392227 h 637494"/>
              <a:gd name="connsiteX11" fmla="*/ 459 w 868438"/>
              <a:gd name="connsiteY11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51050 w 868438"/>
              <a:gd name="connsiteY4" fmla="*/ 524435 h 637494"/>
              <a:gd name="connsiteX5" fmla="*/ 386757 w 868438"/>
              <a:gd name="connsiteY5" fmla="*/ 493479 h 637494"/>
              <a:gd name="connsiteX6" fmla="*/ 334369 w 868438"/>
              <a:gd name="connsiteY6" fmla="*/ 467285 h 637494"/>
              <a:gd name="connsiteX7" fmla="*/ 267694 w 868438"/>
              <a:gd name="connsiteY7" fmla="*/ 441091 h 637494"/>
              <a:gd name="connsiteX8" fmla="*/ 201019 w 868438"/>
              <a:gd name="connsiteY8" fmla="*/ 419659 h 637494"/>
              <a:gd name="connsiteX9" fmla="*/ 131963 w 868438"/>
              <a:gd name="connsiteY9" fmla="*/ 405373 h 637494"/>
              <a:gd name="connsiteX10" fmla="*/ 74813 w 868438"/>
              <a:gd name="connsiteY10" fmla="*/ 398230 h 637494"/>
              <a:gd name="connsiteX11" fmla="*/ 458 w 868438"/>
              <a:gd name="connsiteY11" fmla="*/ 392227 h 637494"/>
              <a:gd name="connsiteX12" fmla="*/ 459 w 868438"/>
              <a:gd name="connsiteY12" fmla="*/ 0 h 637494"/>
              <a:gd name="connsiteX0" fmla="*/ 459 w 868438"/>
              <a:gd name="connsiteY0" fmla="*/ 0 h 637494"/>
              <a:gd name="connsiteX1" fmla="*/ 868438 w 868438"/>
              <a:gd name="connsiteY1" fmla="*/ 361951 h 637494"/>
              <a:gd name="connsiteX2" fmla="*/ 592213 w 868438"/>
              <a:gd name="connsiteY2" fmla="*/ 637494 h 637494"/>
              <a:gd name="connsiteX3" fmla="*/ 522488 w 868438"/>
              <a:gd name="connsiteY3" fmla="*/ 581585 h 637494"/>
              <a:gd name="connsiteX4" fmla="*/ 448669 w 868438"/>
              <a:gd name="connsiteY4" fmla="*/ 529197 h 637494"/>
              <a:gd name="connsiteX5" fmla="*/ 386757 w 868438"/>
              <a:gd name="connsiteY5" fmla="*/ 493479 h 637494"/>
              <a:gd name="connsiteX6" fmla="*/ 334369 w 868438"/>
              <a:gd name="connsiteY6" fmla="*/ 467285 h 637494"/>
              <a:gd name="connsiteX7" fmla="*/ 267694 w 868438"/>
              <a:gd name="connsiteY7" fmla="*/ 441091 h 637494"/>
              <a:gd name="connsiteX8" fmla="*/ 201019 w 868438"/>
              <a:gd name="connsiteY8" fmla="*/ 419659 h 637494"/>
              <a:gd name="connsiteX9" fmla="*/ 131963 w 868438"/>
              <a:gd name="connsiteY9" fmla="*/ 405373 h 637494"/>
              <a:gd name="connsiteX10" fmla="*/ 74813 w 868438"/>
              <a:gd name="connsiteY10" fmla="*/ 398230 h 637494"/>
              <a:gd name="connsiteX11" fmla="*/ 458 w 868438"/>
              <a:gd name="connsiteY11" fmla="*/ 392227 h 637494"/>
              <a:gd name="connsiteX12" fmla="*/ 459 w 868438"/>
              <a:gd name="connsiteY1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868438 w 868438"/>
              <a:gd name="connsiteY2" fmla="*/ 361951 h 637494"/>
              <a:gd name="connsiteX3" fmla="*/ 592213 w 868438"/>
              <a:gd name="connsiteY3" fmla="*/ 637494 h 637494"/>
              <a:gd name="connsiteX4" fmla="*/ 522488 w 868438"/>
              <a:gd name="connsiteY4" fmla="*/ 581585 h 637494"/>
              <a:gd name="connsiteX5" fmla="*/ 448669 w 868438"/>
              <a:gd name="connsiteY5" fmla="*/ 529197 h 637494"/>
              <a:gd name="connsiteX6" fmla="*/ 386757 w 868438"/>
              <a:gd name="connsiteY6" fmla="*/ 493479 h 637494"/>
              <a:gd name="connsiteX7" fmla="*/ 334369 w 868438"/>
              <a:gd name="connsiteY7" fmla="*/ 467285 h 637494"/>
              <a:gd name="connsiteX8" fmla="*/ 267694 w 868438"/>
              <a:gd name="connsiteY8" fmla="*/ 441091 h 637494"/>
              <a:gd name="connsiteX9" fmla="*/ 201019 w 868438"/>
              <a:gd name="connsiteY9" fmla="*/ 419659 h 637494"/>
              <a:gd name="connsiteX10" fmla="*/ 131963 w 868438"/>
              <a:gd name="connsiteY10" fmla="*/ 405373 h 637494"/>
              <a:gd name="connsiteX11" fmla="*/ 74813 w 868438"/>
              <a:gd name="connsiteY11" fmla="*/ 398230 h 637494"/>
              <a:gd name="connsiteX12" fmla="*/ 458 w 868438"/>
              <a:gd name="connsiteY12" fmla="*/ 392227 h 637494"/>
              <a:gd name="connsiteX13" fmla="*/ 459 w 868438"/>
              <a:gd name="connsiteY13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868438 w 868438"/>
              <a:gd name="connsiteY3" fmla="*/ 361951 h 637494"/>
              <a:gd name="connsiteX4" fmla="*/ 592213 w 868438"/>
              <a:gd name="connsiteY4" fmla="*/ 637494 h 637494"/>
              <a:gd name="connsiteX5" fmla="*/ 522488 w 868438"/>
              <a:gd name="connsiteY5" fmla="*/ 581585 h 637494"/>
              <a:gd name="connsiteX6" fmla="*/ 448669 w 868438"/>
              <a:gd name="connsiteY6" fmla="*/ 529197 h 637494"/>
              <a:gd name="connsiteX7" fmla="*/ 386757 w 868438"/>
              <a:gd name="connsiteY7" fmla="*/ 493479 h 637494"/>
              <a:gd name="connsiteX8" fmla="*/ 334369 w 868438"/>
              <a:gd name="connsiteY8" fmla="*/ 467285 h 637494"/>
              <a:gd name="connsiteX9" fmla="*/ 267694 w 868438"/>
              <a:gd name="connsiteY9" fmla="*/ 441091 h 637494"/>
              <a:gd name="connsiteX10" fmla="*/ 201019 w 868438"/>
              <a:gd name="connsiteY10" fmla="*/ 419659 h 637494"/>
              <a:gd name="connsiteX11" fmla="*/ 131963 w 868438"/>
              <a:gd name="connsiteY11" fmla="*/ 405373 h 637494"/>
              <a:gd name="connsiteX12" fmla="*/ 74813 w 868438"/>
              <a:gd name="connsiteY12" fmla="*/ 398230 h 637494"/>
              <a:gd name="connsiteX13" fmla="*/ 458 w 868438"/>
              <a:gd name="connsiteY13" fmla="*/ 392227 h 637494"/>
              <a:gd name="connsiteX14" fmla="*/ 459 w 868438"/>
              <a:gd name="connsiteY14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868438 w 868438"/>
              <a:gd name="connsiteY4" fmla="*/ 361951 h 637494"/>
              <a:gd name="connsiteX5" fmla="*/ 592213 w 868438"/>
              <a:gd name="connsiteY5" fmla="*/ 637494 h 637494"/>
              <a:gd name="connsiteX6" fmla="*/ 522488 w 868438"/>
              <a:gd name="connsiteY6" fmla="*/ 581585 h 637494"/>
              <a:gd name="connsiteX7" fmla="*/ 448669 w 868438"/>
              <a:gd name="connsiteY7" fmla="*/ 529197 h 637494"/>
              <a:gd name="connsiteX8" fmla="*/ 386757 w 868438"/>
              <a:gd name="connsiteY8" fmla="*/ 493479 h 637494"/>
              <a:gd name="connsiteX9" fmla="*/ 334369 w 868438"/>
              <a:gd name="connsiteY9" fmla="*/ 467285 h 637494"/>
              <a:gd name="connsiteX10" fmla="*/ 267694 w 868438"/>
              <a:gd name="connsiteY10" fmla="*/ 441091 h 637494"/>
              <a:gd name="connsiteX11" fmla="*/ 201019 w 868438"/>
              <a:gd name="connsiteY11" fmla="*/ 419659 h 637494"/>
              <a:gd name="connsiteX12" fmla="*/ 131963 w 868438"/>
              <a:gd name="connsiteY12" fmla="*/ 405373 h 637494"/>
              <a:gd name="connsiteX13" fmla="*/ 74813 w 868438"/>
              <a:gd name="connsiteY13" fmla="*/ 398230 h 637494"/>
              <a:gd name="connsiteX14" fmla="*/ 458 w 868438"/>
              <a:gd name="connsiteY14" fmla="*/ 392227 h 637494"/>
              <a:gd name="connsiteX15" fmla="*/ 459 w 868438"/>
              <a:gd name="connsiteY15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868438 w 868438"/>
              <a:gd name="connsiteY5" fmla="*/ 361951 h 637494"/>
              <a:gd name="connsiteX6" fmla="*/ 592213 w 868438"/>
              <a:gd name="connsiteY6" fmla="*/ 637494 h 637494"/>
              <a:gd name="connsiteX7" fmla="*/ 522488 w 868438"/>
              <a:gd name="connsiteY7" fmla="*/ 581585 h 637494"/>
              <a:gd name="connsiteX8" fmla="*/ 448669 w 868438"/>
              <a:gd name="connsiteY8" fmla="*/ 529197 h 637494"/>
              <a:gd name="connsiteX9" fmla="*/ 386757 w 868438"/>
              <a:gd name="connsiteY9" fmla="*/ 493479 h 637494"/>
              <a:gd name="connsiteX10" fmla="*/ 334369 w 868438"/>
              <a:gd name="connsiteY10" fmla="*/ 467285 h 637494"/>
              <a:gd name="connsiteX11" fmla="*/ 267694 w 868438"/>
              <a:gd name="connsiteY11" fmla="*/ 441091 h 637494"/>
              <a:gd name="connsiteX12" fmla="*/ 201019 w 868438"/>
              <a:gd name="connsiteY12" fmla="*/ 419659 h 637494"/>
              <a:gd name="connsiteX13" fmla="*/ 131963 w 868438"/>
              <a:gd name="connsiteY13" fmla="*/ 405373 h 637494"/>
              <a:gd name="connsiteX14" fmla="*/ 74813 w 868438"/>
              <a:gd name="connsiteY14" fmla="*/ 398230 h 637494"/>
              <a:gd name="connsiteX15" fmla="*/ 458 w 868438"/>
              <a:gd name="connsiteY15" fmla="*/ 392227 h 637494"/>
              <a:gd name="connsiteX16" fmla="*/ 459 w 868438"/>
              <a:gd name="connsiteY16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868438 w 868438"/>
              <a:gd name="connsiteY6" fmla="*/ 361951 h 637494"/>
              <a:gd name="connsiteX7" fmla="*/ 592213 w 868438"/>
              <a:gd name="connsiteY7" fmla="*/ 637494 h 637494"/>
              <a:gd name="connsiteX8" fmla="*/ 522488 w 868438"/>
              <a:gd name="connsiteY8" fmla="*/ 581585 h 637494"/>
              <a:gd name="connsiteX9" fmla="*/ 448669 w 868438"/>
              <a:gd name="connsiteY9" fmla="*/ 529197 h 637494"/>
              <a:gd name="connsiteX10" fmla="*/ 386757 w 868438"/>
              <a:gd name="connsiteY10" fmla="*/ 493479 h 637494"/>
              <a:gd name="connsiteX11" fmla="*/ 334369 w 868438"/>
              <a:gd name="connsiteY11" fmla="*/ 467285 h 637494"/>
              <a:gd name="connsiteX12" fmla="*/ 267694 w 868438"/>
              <a:gd name="connsiteY12" fmla="*/ 441091 h 637494"/>
              <a:gd name="connsiteX13" fmla="*/ 201019 w 868438"/>
              <a:gd name="connsiteY13" fmla="*/ 419659 h 637494"/>
              <a:gd name="connsiteX14" fmla="*/ 131963 w 868438"/>
              <a:gd name="connsiteY14" fmla="*/ 405373 h 637494"/>
              <a:gd name="connsiteX15" fmla="*/ 74813 w 868438"/>
              <a:gd name="connsiteY15" fmla="*/ 398230 h 637494"/>
              <a:gd name="connsiteX16" fmla="*/ 458 w 868438"/>
              <a:gd name="connsiteY16" fmla="*/ 392227 h 637494"/>
              <a:gd name="connsiteX17" fmla="*/ 459 w 868438"/>
              <a:gd name="connsiteY17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868438 w 868438"/>
              <a:gd name="connsiteY7" fmla="*/ 361951 h 637494"/>
              <a:gd name="connsiteX8" fmla="*/ 592213 w 868438"/>
              <a:gd name="connsiteY8" fmla="*/ 637494 h 637494"/>
              <a:gd name="connsiteX9" fmla="*/ 522488 w 868438"/>
              <a:gd name="connsiteY9" fmla="*/ 581585 h 637494"/>
              <a:gd name="connsiteX10" fmla="*/ 448669 w 868438"/>
              <a:gd name="connsiteY10" fmla="*/ 529197 h 637494"/>
              <a:gd name="connsiteX11" fmla="*/ 386757 w 868438"/>
              <a:gd name="connsiteY11" fmla="*/ 493479 h 637494"/>
              <a:gd name="connsiteX12" fmla="*/ 334369 w 868438"/>
              <a:gd name="connsiteY12" fmla="*/ 467285 h 637494"/>
              <a:gd name="connsiteX13" fmla="*/ 267694 w 868438"/>
              <a:gd name="connsiteY13" fmla="*/ 441091 h 637494"/>
              <a:gd name="connsiteX14" fmla="*/ 201019 w 868438"/>
              <a:gd name="connsiteY14" fmla="*/ 419659 h 637494"/>
              <a:gd name="connsiteX15" fmla="*/ 131963 w 868438"/>
              <a:gd name="connsiteY15" fmla="*/ 405373 h 637494"/>
              <a:gd name="connsiteX16" fmla="*/ 74813 w 868438"/>
              <a:gd name="connsiteY16" fmla="*/ 398230 h 637494"/>
              <a:gd name="connsiteX17" fmla="*/ 458 w 868438"/>
              <a:gd name="connsiteY17" fmla="*/ 392227 h 637494"/>
              <a:gd name="connsiteX18" fmla="*/ 459 w 868438"/>
              <a:gd name="connsiteY18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868438 w 868438"/>
              <a:gd name="connsiteY8" fmla="*/ 361951 h 637494"/>
              <a:gd name="connsiteX9" fmla="*/ 592213 w 868438"/>
              <a:gd name="connsiteY9" fmla="*/ 637494 h 637494"/>
              <a:gd name="connsiteX10" fmla="*/ 522488 w 868438"/>
              <a:gd name="connsiteY10" fmla="*/ 581585 h 637494"/>
              <a:gd name="connsiteX11" fmla="*/ 448669 w 868438"/>
              <a:gd name="connsiteY11" fmla="*/ 529197 h 637494"/>
              <a:gd name="connsiteX12" fmla="*/ 386757 w 868438"/>
              <a:gd name="connsiteY12" fmla="*/ 493479 h 637494"/>
              <a:gd name="connsiteX13" fmla="*/ 334369 w 868438"/>
              <a:gd name="connsiteY13" fmla="*/ 467285 h 637494"/>
              <a:gd name="connsiteX14" fmla="*/ 267694 w 868438"/>
              <a:gd name="connsiteY14" fmla="*/ 441091 h 637494"/>
              <a:gd name="connsiteX15" fmla="*/ 201019 w 868438"/>
              <a:gd name="connsiteY15" fmla="*/ 419659 h 637494"/>
              <a:gd name="connsiteX16" fmla="*/ 131963 w 868438"/>
              <a:gd name="connsiteY16" fmla="*/ 405373 h 637494"/>
              <a:gd name="connsiteX17" fmla="*/ 74813 w 868438"/>
              <a:gd name="connsiteY17" fmla="*/ 398230 h 637494"/>
              <a:gd name="connsiteX18" fmla="*/ 458 w 868438"/>
              <a:gd name="connsiteY18" fmla="*/ 392227 h 637494"/>
              <a:gd name="connsiteX19" fmla="*/ 459 w 868438"/>
              <a:gd name="connsiteY19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868438 w 868438"/>
              <a:gd name="connsiteY9" fmla="*/ 361951 h 637494"/>
              <a:gd name="connsiteX10" fmla="*/ 592213 w 868438"/>
              <a:gd name="connsiteY10" fmla="*/ 637494 h 637494"/>
              <a:gd name="connsiteX11" fmla="*/ 522488 w 868438"/>
              <a:gd name="connsiteY11" fmla="*/ 581585 h 637494"/>
              <a:gd name="connsiteX12" fmla="*/ 448669 w 868438"/>
              <a:gd name="connsiteY12" fmla="*/ 529197 h 637494"/>
              <a:gd name="connsiteX13" fmla="*/ 386757 w 868438"/>
              <a:gd name="connsiteY13" fmla="*/ 493479 h 637494"/>
              <a:gd name="connsiteX14" fmla="*/ 334369 w 868438"/>
              <a:gd name="connsiteY14" fmla="*/ 467285 h 637494"/>
              <a:gd name="connsiteX15" fmla="*/ 267694 w 868438"/>
              <a:gd name="connsiteY15" fmla="*/ 441091 h 637494"/>
              <a:gd name="connsiteX16" fmla="*/ 201019 w 868438"/>
              <a:gd name="connsiteY16" fmla="*/ 419659 h 637494"/>
              <a:gd name="connsiteX17" fmla="*/ 131963 w 868438"/>
              <a:gd name="connsiteY17" fmla="*/ 405373 h 637494"/>
              <a:gd name="connsiteX18" fmla="*/ 74813 w 868438"/>
              <a:gd name="connsiteY18" fmla="*/ 398230 h 637494"/>
              <a:gd name="connsiteX19" fmla="*/ 458 w 868438"/>
              <a:gd name="connsiteY19" fmla="*/ 392227 h 637494"/>
              <a:gd name="connsiteX20" fmla="*/ 459 w 868438"/>
              <a:gd name="connsiteY20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868438 w 868438"/>
              <a:gd name="connsiteY10" fmla="*/ 361951 h 637494"/>
              <a:gd name="connsiteX11" fmla="*/ 592213 w 868438"/>
              <a:gd name="connsiteY11" fmla="*/ 637494 h 637494"/>
              <a:gd name="connsiteX12" fmla="*/ 522488 w 868438"/>
              <a:gd name="connsiteY12" fmla="*/ 581585 h 637494"/>
              <a:gd name="connsiteX13" fmla="*/ 448669 w 868438"/>
              <a:gd name="connsiteY13" fmla="*/ 529197 h 637494"/>
              <a:gd name="connsiteX14" fmla="*/ 386757 w 868438"/>
              <a:gd name="connsiteY14" fmla="*/ 493479 h 637494"/>
              <a:gd name="connsiteX15" fmla="*/ 334369 w 868438"/>
              <a:gd name="connsiteY15" fmla="*/ 467285 h 637494"/>
              <a:gd name="connsiteX16" fmla="*/ 267694 w 868438"/>
              <a:gd name="connsiteY16" fmla="*/ 441091 h 637494"/>
              <a:gd name="connsiteX17" fmla="*/ 201019 w 868438"/>
              <a:gd name="connsiteY17" fmla="*/ 419659 h 637494"/>
              <a:gd name="connsiteX18" fmla="*/ 131963 w 868438"/>
              <a:gd name="connsiteY18" fmla="*/ 405373 h 637494"/>
              <a:gd name="connsiteX19" fmla="*/ 74813 w 868438"/>
              <a:gd name="connsiteY19" fmla="*/ 398230 h 637494"/>
              <a:gd name="connsiteX20" fmla="*/ 458 w 868438"/>
              <a:gd name="connsiteY20" fmla="*/ 392227 h 637494"/>
              <a:gd name="connsiteX21" fmla="*/ 459 w 868438"/>
              <a:gd name="connsiteY21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21991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70075 w 868438"/>
              <a:gd name="connsiteY4" fmla="*/ 26754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3894 w 868438"/>
              <a:gd name="connsiteY5" fmla="*/ 45804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5332 w 868438"/>
              <a:gd name="connsiteY6" fmla="*/ 74379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5332 w 868438"/>
              <a:gd name="connsiteY6" fmla="*/ 79141 h 637494"/>
              <a:gd name="connsiteX7" fmla="*/ 470100 w 868438"/>
              <a:gd name="connsiteY7" fmla="*/ 95810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5332 w 868438"/>
              <a:gd name="connsiteY6" fmla="*/ 79141 h 637494"/>
              <a:gd name="connsiteX7" fmla="*/ 477244 w 868438"/>
              <a:gd name="connsiteY7" fmla="*/ 98191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48682 w 868438"/>
              <a:gd name="connsiteY8" fmla="*/ 124385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46301 w 868438"/>
              <a:gd name="connsiteY8" fmla="*/ 136291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3444 w 868438"/>
              <a:gd name="connsiteY8" fmla="*/ 126766 h 637494"/>
              <a:gd name="connsiteX9" fmla="*/ 639169 w 868438"/>
              <a:gd name="connsiteY9" fmla="*/ 174391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3444 w 868438"/>
              <a:gd name="connsiteY8" fmla="*/ 126766 h 637494"/>
              <a:gd name="connsiteX9" fmla="*/ 636788 w 868438"/>
              <a:gd name="connsiteY9" fmla="*/ 179154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6788 w 868438"/>
              <a:gd name="connsiteY9" fmla="*/ 179154 h 637494"/>
              <a:gd name="connsiteX10" fmla="*/ 753469 w 868438"/>
              <a:gd name="connsiteY10" fmla="*/ 252973 h 637494"/>
              <a:gd name="connsiteX11" fmla="*/ 868438 w 868438"/>
              <a:gd name="connsiteY11" fmla="*/ 361951 h 637494"/>
              <a:gd name="connsiteX12" fmla="*/ 592213 w 868438"/>
              <a:gd name="connsiteY12" fmla="*/ 637494 h 637494"/>
              <a:gd name="connsiteX13" fmla="*/ 522488 w 868438"/>
              <a:gd name="connsiteY13" fmla="*/ 581585 h 637494"/>
              <a:gd name="connsiteX14" fmla="*/ 448669 w 868438"/>
              <a:gd name="connsiteY14" fmla="*/ 529197 h 637494"/>
              <a:gd name="connsiteX15" fmla="*/ 386757 w 868438"/>
              <a:gd name="connsiteY15" fmla="*/ 493479 h 637494"/>
              <a:gd name="connsiteX16" fmla="*/ 334369 w 868438"/>
              <a:gd name="connsiteY16" fmla="*/ 467285 h 637494"/>
              <a:gd name="connsiteX17" fmla="*/ 267694 w 868438"/>
              <a:gd name="connsiteY17" fmla="*/ 441091 h 637494"/>
              <a:gd name="connsiteX18" fmla="*/ 201019 w 868438"/>
              <a:gd name="connsiteY18" fmla="*/ 419659 h 637494"/>
              <a:gd name="connsiteX19" fmla="*/ 131963 w 868438"/>
              <a:gd name="connsiteY19" fmla="*/ 405373 h 637494"/>
              <a:gd name="connsiteX20" fmla="*/ 74813 w 868438"/>
              <a:gd name="connsiteY20" fmla="*/ 398230 h 637494"/>
              <a:gd name="connsiteX21" fmla="*/ 458 w 868438"/>
              <a:gd name="connsiteY21" fmla="*/ 392227 h 637494"/>
              <a:gd name="connsiteX22" fmla="*/ 459 w 868438"/>
              <a:gd name="connsiteY22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6788 w 868438"/>
              <a:gd name="connsiteY9" fmla="*/ 179154 h 637494"/>
              <a:gd name="connsiteX10" fmla="*/ 753469 w 868438"/>
              <a:gd name="connsiteY10" fmla="*/ 252973 h 637494"/>
              <a:gd name="connsiteX11" fmla="*/ 810619 w 868438"/>
              <a:gd name="connsiteY11" fmla="*/ 307741 h 637494"/>
              <a:gd name="connsiteX12" fmla="*/ 868438 w 868438"/>
              <a:gd name="connsiteY12" fmla="*/ 361951 h 637494"/>
              <a:gd name="connsiteX13" fmla="*/ 592213 w 868438"/>
              <a:gd name="connsiteY13" fmla="*/ 637494 h 637494"/>
              <a:gd name="connsiteX14" fmla="*/ 522488 w 868438"/>
              <a:gd name="connsiteY14" fmla="*/ 581585 h 637494"/>
              <a:gd name="connsiteX15" fmla="*/ 448669 w 868438"/>
              <a:gd name="connsiteY15" fmla="*/ 529197 h 637494"/>
              <a:gd name="connsiteX16" fmla="*/ 386757 w 868438"/>
              <a:gd name="connsiteY16" fmla="*/ 493479 h 637494"/>
              <a:gd name="connsiteX17" fmla="*/ 334369 w 868438"/>
              <a:gd name="connsiteY17" fmla="*/ 467285 h 637494"/>
              <a:gd name="connsiteX18" fmla="*/ 267694 w 868438"/>
              <a:gd name="connsiteY18" fmla="*/ 441091 h 637494"/>
              <a:gd name="connsiteX19" fmla="*/ 201019 w 868438"/>
              <a:gd name="connsiteY19" fmla="*/ 419659 h 637494"/>
              <a:gd name="connsiteX20" fmla="*/ 131963 w 868438"/>
              <a:gd name="connsiteY20" fmla="*/ 405373 h 637494"/>
              <a:gd name="connsiteX21" fmla="*/ 74813 w 868438"/>
              <a:gd name="connsiteY21" fmla="*/ 398230 h 637494"/>
              <a:gd name="connsiteX22" fmla="*/ 458 w 868438"/>
              <a:gd name="connsiteY22" fmla="*/ 392227 h 637494"/>
              <a:gd name="connsiteX23" fmla="*/ 459 w 868438"/>
              <a:gd name="connsiteY23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6788 w 868438"/>
              <a:gd name="connsiteY9" fmla="*/ 179154 h 637494"/>
              <a:gd name="connsiteX10" fmla="*/ 689175 w 868438"/>
              <a:gd name="connsiteY10" fmla="*/ 207729 h 637494"/>
              <a:gd name="connsiteX11" fmla="*/ 753469 w 868438"/>
              <a:gd name="connsiteY11" fmla="*/ 252973 h 637494"/>
              <a:gd name="connsiteX12" fmla="*/ 810619 w 868438"/>
              <a:gd name="connsiteY12" fmla="*/ 307741 h 637494"/>
              <a:gd name="connsiteX13" fmla="*/ 868438 w 868438"/>
              <a:gd name="connsiteY13" fmla="*/ 361951 h 637494"/>
              <a:gd name="connsiteX14" fmla="*/ 592213 w 868438"/>
              <a:gd name="connsiteY14" fmla="*/ 637494 h 637494"/>
              <a:gd name="connsiteX15" fmla="*/ 522488 w 868438"/>
              <a:gd name="connsiteY15" fmla="*/ 581585 h 637494"/>
              <a:gd name="connsiteX16" fmla="*/ 448669 w 868438"/>
              <a:gd name="connsiteY16" fmla="*/ 529197 h 637494"/>
              <a:gd name="connsiteX17" fmla="*/ 386757 w 868438"/>
              <a:gd name="connsiteY17" fmla="*/ 493479 h 637494"/>
              <a:gd name="connsiteX18" fmla="*/ 334369 w 868438"/>
              <a:gd name="connsiteY18" fmla="*/ 467285 h 637494"/>
              <a:gd name="connsiteX19" fmla="*/ 267694 w 868438"/>
              <a:gd name="connsiteY19" fmla="*/ 441091 h 637494"/>
              <a:gd name="connsiteX20" fmla="*/ 201019 w 868438"/>
              <a:gd name="connsiteY20" fmla="*/ 419659 h 637494"/>
              <a:gd name="connsiteX21" fmla="*/ 131963 w 868438"/>
              <a:gd name="connsiteY21" fmla="*/ 405373 h 637494"/>
              <a:gd name="connsiteX22" fmla="*/ 74813 w 868438"/>
              <a:gd name="connsiteY22" fmla="*/ 398230 h 637494"/>
              <a:gd name="connsiteX23" fmla="*/ 458 w 868438"/>
              <a:gd name="connsiteY23" fmla="*/ 392227 h 637494"/>
              <a:gd name="connsiteX24" fmla="*/ 459 w 868438"/>
              <a:gd name="connsiteY24" fmla="*/ 0 h 637494"/>
              <a:gd name="connsiteX0" fmla="*/ 459 w 868438"/>
              <a:gd name="connsiteY0" fmla="*/ 0 h 637494"/>
              <a:gd name="connsiteX1" fmla="*/ 77194 w 868438"/>
              <a:gd name="connsiteY1" fmla="*/ 2941 h 637494"/>
              <a:gd name="connsiteX2" fmla="*/ 151013 w 868438"/>
              <a:gd name="connsiteY2" fmla="*/ 7704 h 637494"/>
              <a:gd name="connsiteX3" fmla="*/ 215307 w 868438"/>
              <a:gd name="connsiteY3" fmla="*/ 17229 h 637494"/>
              <a:gd name="connsiteX4" fmla="*/ 267694 w 868438"/>
              <a:gd name="connsiteY4" fmla="*/ 29135 h 637494"/>
              <a:gd name="connsiteX5" fmla="*/ 346275 w 868438"/>
              <a:gd name="connsiteY5" fmla="*/ 50566 h 637494"/>
              <a:gd name="connsiteX6" fmla="*/ 417714 w 868438"/>
              <a:gd name="connsiteY6" fmla="*/ 71997 h 637494"/>
              <a:gd name="connsiteX7" fmla="*/ 477244 w 868438"/>
              <a:gd name="connsiteY7" fmla="*/ 98191 h 637494"/>
              <a:gd name="connsiteX8" fmla="*/ 551063 w 868438"/>
              <a:gd name="connsiteY8" fmla="*/ 129148 h 637494"/>
              <a:gd name="connsiteX9" fmla="*/ 634407 w 868438"/>
              <a:gd name="connsiteY9" fmla="*/ 172011 h 637494"/>
              <a:gd name="connsiteX10" fmla="*/ 689175 w 868438"/>
              <a:gd name="connsiteY10" fmla="*/ 207729 h 637494"/>
              <a:gd name="connsiteX11" fmla="*/ 753469 w 868438"/>
              <a:gd name="connsiteY11" fmla="*/ 252973 h 637494"/>
              <a:gd name="connsiteX12" fmla="*/ 810619 w 868438"/>
              <a:gd name="connsiteY12" fmla="*/ 307741 h 637494"/>
              <a:gd name="connsiteX13" fmla="*/ 868438 w 868438"/>
              <a:gd name="connsiteY13" fmla="*/ 361951 h 637494"/>
              <a:gd name="connsiteX14" fmla="*/ 592213 w 868438"/>
              <a:gd name="connsiteY14" fmla="*/ 637494 h 637494"/>
              <a:gd name="connsiteX15" fmla="*/ 522488 w 868438"/>
              <a:gd name="connsiteY15" fmla="*/ 581585 h 637494"/>
              <a:gd name="connsiteX16" fmla="*/ 448669 w 868438"/>
              <a:gd name="connsiteY16" fmla="*/ 529197 h 637494"/>
              <a:gd name="connsiteX17" fmla="*/ 386757 w 868438"/>
              <a:gd name="connsiteY17" fmla="*/ 493479 h 637494"/>
              <a:gd name="connsiteX18" fmla="*/ 334369 w 868438"/>
              <a:gd name="connsiteY18" fmla="*/ 467285 h 637494"/>
              <a:gd name="connsiteX19" fmla="*/ 267694 w 868438"/>
              <a:gd name="connsiteY19" fmla="*/ 441091 h 637494"/>
              <a:gd name="connsiteX20" fmla="*/ 201019 w 868438"/>
              <a:gd name="connsiteY20" fmla="*/ 419659 h 637494"/>
              <a:gd name="connsiteX21" fmla="*/ 131963 w 868438"/>
              <a:gd name="connsiteY21" fmla="*/ 405373 h 637494"/>
              <a:gd name="connsiteX22" fmla="*/ 74813 w 868438"/>
              <a:gd name="connsiteY22" fmla="*/ 398230 h 637494"/>
              <a:gd name="connsiteX23" fmla="*/ 458 w 868438"/>
              <a:gd name="connsiteY23" fmla="*/ 392227 h 637494"/>
              <a:gd name="connsiteX24" fmla="*/ 459 w 868438"/>
              <a:gd name="connsiteY24" fmla="*/ 0 h 637494"/>
              <a:gd name="connsiteX0" fmla="*/ 0 w 869784"/>
              <a:gd name="connsiteY0" fmla="*/ 262751 h 634553"/>
              <a:gd name="connsiteX1" fmla="*/ 78540 w 869784"/>
              <a:gd name="connsiteY1" fmla="*/ 0 h 634553"/>
              <a:gd name="connsiteX2" fmla="*/ 152359 w 869784"/>
              <a:gd name="connsiteY2" fmla="*/ 4763 h 634553"/>
              <a:gd name="connsiteX3" fmla="*/ 216653 w 869784"/>
              <a:gd name="connsiteY3" fmla="*/ 14288 h 634553"/>
              <a:gd name="connsiteX4" fmla="*/ 269040 w 869784"/>
              <a:gd name="connsiteY4" fmla="*/ 26194 h 634553"/>
              <a:gd name="connsiteX5" fmla="*/ 347621 w 869784"/>
              <a:gd name="connsiteY5" fmla="*/ 47625 h 634553"/>
              <a:gd name="connsiteX6" fmla="*/ 419060 w 869784"/>
              <a:gd name="connsiteY6" fmla="*/ 69056 h 634553"/>
              <a:gd name="connsiteX7" fmla="*/ 478590 w 869784"/>
              <a:gd name="connsiteY7" fmla="*/ 95250 h 634553"/>
              <a:gd name="connsiteX8" fmla="*/ 552409 w 869784"/>
              <a:gd name="connsiteY8" fmla="*/ 126207 h 634553"/>
              <a:gd name="connsiteX9" fmla="*/ 635753 w 869784"/>
              <a:gd name="connsiteY9" fmla="*/ 169070 h 634553"/>
              <a:gd name="connsiteX10" fmla="*/ 690521 w 869784"/>
              <a:gd name="connsiteY10" fmla="*/ 204788 h 634553"/>
              <a:gd name="connsiteX11" fmla="*/ 754815 w 869784"/>
              <a:gd name="connsiteY11" fmla="*/ 250032 h 634553"/>
              <a:gd name="connsiteX12" fmla="*/ 811965 w 869784"/>
              <a:gd name="connsiteY12" fmla="*/ 304800 h 634553"/>
              <a:gd name="connsiteX13" fmla="*/ 869784 w 869784"/>
              <a:gd name="connsiteY13" fmla="*/ 359010 h 634553"/>
              <a:gd name="connsiteX14" fmla="*/ 593559 w 869784"/>
              <a:gd name="connsiteY14" fmla="*/ 634553 h 634553"/>
              <a:gd name="connsiteX15" fmla="*/ 523834 w 869784"/>
              <a:gd name="connsiteY15" fmla="*/ 578644 h 634553"/>
              <a:gd name="connsiteX16" fmla="*/ 450015 w 869784"/>
              <a:gd name="connsiteY16" fmla="*/ 526256 h 634553"/>
              <a:gd name="connsiteX17" fmla="*/ 388103 w 869784"/>
              <a:gd name="connsiteY17" fmla="*/ 490538 h 634553"/>
              <a:gd name="connsiteX18" fmla="*/ 335715 w 869784"/>
              <a:gd name="connsiteY18" fmla="*/ 464344 h 634553"/>
              <a:gd name="connsiteX19" fmla="*/ 269040 w 869784"/>
              <a:gd name="connsiteY19" fmla="*/ 438150 h 634553"/>
              <a:gd name="connsiteX20" fmla="*/ 202365 w 869784"/>
              <a:gd name="connsiteY20" fmla="*/ 416718 h 634553"/>
              <a:gd name="connsiteX21" fmla="*/ 133309 w 869784"/>
              <a:gd name="connsiteY21" fmla="*/ 402432 h 634553"/>
              <a:gd name="connsiteX22" fmla="*/ 76159 w 869784"/>
              <a:gd name="connsiteY22" fmla="*/ 395289 h 634553"/>
              <a:gd name="connsiteX23" fmla="*/ 1804 w 869784"/>
              <a:gd name="connsiteY23" fmla="*/ 389286 h 634553"/>
              <a:gd name="connsiteX24" fmla="*/ 0 w 869784"/>
              <a:gd name="connsiteY24" fmla="*/ 262751 h 634553"/>
              <a:gd name="connsiteX0" fmla="*/ 0 w 811965"/>
              <a:gd name="connsiteY0" fmla="*/ 262751 h 634553"/>
              <a:gd name="connsiteX1" fmla="*/ 78540 w 811965"/>
              <a:gd name="connsiteY1" fmla="*/ 0 h 634553"/>
              <a:gd name="connsiteX2" fmla="*/ 152359 w 811965"/>
              <a:gd name="connsiteY2" fmla="*/ 4763 h 634553"/>
              <a:gd name="connsiteX3" fmla="*/ 216653 w 811965"/>
              <a:gd name="connsiteY3" fmla="*/ 14288 h 634553"/>
              <a:gd name="connsiteX4" fmla="*/ 269040 w 811965"/>
              <a:gd name="connsiteY4" fmla="*/ 26194 h 634553"/>
              <a:gd name="connsiteX5" fmla="*/ 347621 w 811965"/>
              <a:gd name="connsiteY5" fmla="*/ 47625 h 634553"/>
              <a:gd name="connsiteX6" fmla="*/ 419060 w 811965"/>
              <a:gd name="connsiteY6" fmla="*/ 69056 h 634553"/>
              <a:gd name="connsiteX7" fmla="*/ 478590 w 811965"/>
              <a:gd name="connsiteY7" fmla="*/ 95250 h 634553"/>
              <a:gd name="connsiteX8" fmla="*/ 552409 w 811965"/>
              <a:gd name="connsiteY8" fmla="*/ 126207 h 634553"/>
              <a:gd name="connsiteX9" fmla="*/ 635753 w 811965"/>
              <a:gd name="connsiteY9" fmla="*/ 169070 h 634553"/>
              <a:gd name="connsiteX10" fmla="*/ 690521 w 811965"/>
              <a:gd name="connsiteY10" fmla="*/ 204788 h 634553"/>
              <a:gd name="connsiteX11" fmla="*/ 754815 w 811965"/>
              <a:gd name="connsiteY11" fmla="*/ 250032 h 634553"/>
              <a:gd name="connsiteX12" fmla="*/ 811965 w 811965"/>
              <a:gd name="connsiteY12" fmla="*/ 304800 h 634553"/>
              <a:gd name="connsiteX13" fmla="*/ 671274 w 811965"/>
              <a:gd name="connsiteY13" fmla="*/ 562214 h 634553"/>
              <a:gd name="connsiteX14" fmla="*/ 593559 w 811965"/>
              <a:gd name="connsiteY14" fmla="*/ 634553 h 634553"/>
              <a:gd name="connsiteX15" fmla="*/ 523834 w 811965"/>
              <a:gd name="connsiteY15" fmla="*/ 578644 h 634553"/>
              <a:gd name="connsiteX16" fmla="*/ 450015 w 811965"/>
              <a:gd name="connsiteY16" fmla="*/ 526256 h 634553"/>
              <a:gd name="connsiteX17" fmla="*/ 388103 w 811965"/>
              <a:gd name="connsiteY17" fmla="*/ 490538 h 634553"/>
              <a:gd name="connsiteX18" fmla="*/ 335715 w 811965"/>
              <a:gd name="connsiteY18" fmla="*/ 464344 h 634553"/>
              <a:gd name="connsiteX19" fmla="*/ 269040 w 811965"/>
              <a:gd name="connsiteY19" fmla="*/ 438150 h 634553"/>
              <a:gd name="connsiteX20" fmla="*/ 202365 w 811965"/>
              <a:gd name="connsiteY20" fmla="*/ 416718 h 634553"/>
              <a:gd name="connsiteX21" fmla="*/ 133309 w 811965"/>
              <a:gd name="connsiteY21" fmla="*/ 402432 h 634553"/>
              <a:gd name="connsiteX22" fmla="*/ 76159 w 811965"/>
              <a:gd name="connsiteY22" fmla="*/ 395289 h 634553"/>
              <a:gd name="connsiteX23" fmla="*/ 1804 w 811965"/>
              <a:gd name="connsiteY23" fmla="*/ 389286 h 634553"/>
              <a:gd name="connsiteX24" fmla="*/ 0 w 811965"/>
              <a:gd name="connsiteY24" fmla="*/ 262751 h 634553"/>
              <a:gd name="connsiteX0" fmla="*/ 0 w 756053"/>
              <a:gd name="connsiteY0" fmla="*/ 262751 h 634553"/>
              <a:gd name="connsiteX1" fmla="*/ 78540 w 756053"/>
              <a:gd name="connsiteY1" fmla="*/ 0 h 634553"/>
              <a:gd name="connsiteX2" fmla="*/ 152359 w 756053"/>
              <a:gd name="connsiteY2" fmla="*/ 4763 h 634553"/>
              <a:gd name="connsiteX3" fmla="*/ 216653 w 756053"/>
              <a:gd name="connsiteY3" fmla="*/ 14288 h 634553"/>
              <a:gd name="connsiteX4" fmla="*/ 269040 w 756053"/>
              <a:gd name="connsiteY4" fmla="*/ 26194 h 634553"/>
              <a:gd name="connsiteX5" fmla="*/ 347621 w 756053"/>
              <a:gd name="connsiteY5" fmla="*/ 47625 h 634553"/>
              <a:gd name="connsiteX6" fmla="*/ 419060 w 756053"/>
              <a:gd name="connsiteY6" fmla="*/ 69056 h 634553"/>
              <a:gd name="connsiteX7" fmla="*/ 478590 w 756053"/>
              <a:gd name="connsiteY7" fmla="*/ 95250 h 634553"/>
              <a:gd name="connsiteX8" fmla="*/ 552409 w 756053"/>
              <a:gd name="connsiteY8" fmla="*/ 126207 h 634553"/>
              <a:gd name="connsiteX9" fmla="*/ 635753 w 756053"/>
              <a:gd name="connsiteY9" fmla="*/ 169070 h 634553"/>
              <a:gd name="connsiteX10" fmla="*/ 690521 w 756053"/>
              <a:gd name="connsiteY10" fmla="*/ 204788 h 634553"/>
              <a:gd name="connsiteX11" fmla="*/ 754815 w 756053"/>
              <a:gd name="connsiteY11" fmla="*/ 250032 h 634553"/>
              <a:gd name="connsiteX12" fmla="*/ 616419 w 756053"/>
              <a:gd name="connsiteY12" fmla="*/ 503140 h 634553"/>
              <a:gd name="connsiteX13" fmla="*/ 671274 w 756053"/>
              <a:gd name="connsiteY13" fmla="*/ 562214 h 634553"/>
              <a:gd name="connsiteX14" fmla="*/ 593559 w 756053"/>
              <a:gd name="connsiteY14" fmla="*/ 634553 h 634553"/>
              <a:gd name="connsiteX15" fmla="*/ 523834 w 756053"/>
              <a:gd name="connsiteY15" fmla="*/ 578644 h 634553"/>
              <a:gd name="connsiteX16" fmla="*/ 450015 w 756053"/>
              <a:gd name="connsiteY16" fmla="*/ 526256 h 634553"/>
              <a:gd name="connsiteX17" fmla="*/ 388103 w 756053"/>
              <a:gd name="connsiteY17" fmla="*/ 490538 h 634553"/>
              <a:gd name="connsiteX18" fmla="*/ 335715 w 756053"/>
              <a:gd name="connsiteY18" fmla="*/ 464344 h 634553"/>
              <a:gd name="connsiteX19" fmla="*/ 269040 w 756053"/>
              <a:gd name="connsiteY19" fmla="*/ 438150 h 634553"/>
              <a:gd name="connsiteX20" fmla="*/ 202365 w 756053"/>
              <a:gd name="connsiteY20" fmla="*/ 416718 h 634553"/>
              <a:gd name="connsiteX21" fmla="*/ 133309 w 756053"/>
              <a:gd name="connsiteY21" fmla="*/ 402432 h 634553"/>
              <a:gd name="connsiteX22" fmla="*/ 76159 w 756053"/>
              <a:gd name="connsiteY22" fmla="*/ 395289 h 634553"/>
              <a:gd name="connsiteX23" fmla="*/ 1804 w 756053"/>
              <a:gd name="connsiteY23" fmla="*/ 389286 h 634553"/>
              <a:gd name="connsiteX24" fmla="*/ 0 w 756053"/>
              <a:gd name="connsiteY24" fmla="*/ 262751 h 634553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23834 w 756053"/>
              <a:gd name="connsiteY15" fmla="*/ 578644 h 654010"/>
              <a:gd name="connsiteX16" fmla="*/ 450015 w 756053"/>
              <a:gd name="connsiteY16" fmla="*/ 526256 h 654010"/>
              <a:gd name="connsiteX17" fmla="*/ 388103 w 756053"/>
              <a:gd name="connsiteY17" fmla="*/ 490538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50015 w 756053"/>
              <a:gd name="connsiteY16" fmla="*/ 526256 h 654010"/>
              <a:gd name="connsiteX17" fmla="*/ 388103 w 756053"/>
              <a:gd name="connsiteY17" fmla="*/ 490538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8103 w 756053"/>
              <a:gd name="connsiteY17" fmla="*/ 490538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35715 w 756053"/>
              <a:gd name="connsiteY18" fmla="*/ 464344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69040 w 756053"/>
              <a:gd name="connsiteY19" fmla="*/ 438150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202365 w 756053"/>
              <a:gd name="connsiteY20" fmla="*/ 4167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33309 w 756053"/>
              <a:gd name="connsiteY21" fmla="*/ 402432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27598 w 756053"/>
              <a:gd name="connsiteY21" fmla="*/ 401954 h 654010"/>
              <a:gd name="connsiteX22" fmla="*/ 76159 w 756053"/>
              <a:gd name="connsiteY22" fmla="*/ 395289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71274 w 756053"/>
              <a:gd name="connsiteY13" fmla="*/ 562214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27598 w 756053"/>
              <a:gd name="connsiteY21" fmla="*/ 401954 h 654010"/>
              <a:gd name="connsiteX22" fmla="*/ 70767 w 756053"/>
              <a:gd name="connsiteY22" fmla="*/ 391004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53"/>
              <a:gd name="connsiteY0" fmla="*/ 262751 h 654010"/>
              <a:gd name="connsiteX1" fmla="*/ 78540 w 756053"/>
              <a:gd name="connsiteY1" fmla="*/ 0 h 654010"/>
              <a:gd name="connsiteX2" fmla="*/ 152359 w 756053"/>
              <a:gd name="connsiteY2" fmla="*/ 4763 h 654010"/>
              <a:gd name="connsiteX3" fmla="*/ 216653 w 756053"/>
              <a:gd name="connsiteY3" fmla="*/ 14288 h 654010"/>
              <a:gd name="connsiteX4" fmla="*/ 269040 w 756053"/>
              <a:gd name="connsiteY4" fmla="*/ 26194 h 654010"/>
              <a:gd name="connsiteX5" fmla="*/ 347621 w 756053"/>
              <a:gd name="connsiteY5" fmla="*/ 47625 h 654010"/>
              <a:gd name="connsiteX6" fmla="*/ 419060 w 756053"/>
              <a:gd name="connsiteY6" fmla="*/ 69056 h 654010"/>
              <a:gd name="connsiteX7" fmla="*/ 478590 w 756053"/>
              <a:gd name="connsiteY7" fmla="*/ 95250 h 654010"/>
              <a:gd name="connsiteX8" fmla="*/ 552409 w 756053"/>
              <a:gd name="connsiteY8" fmla="*/ 126207 h 654010"/>
              <a:gd name="connsiteX9" fmla="*/ 635753 w 756053"/>
              <a:gd name="connsiteY9" fmla="*/ 169070 h 654010"/>
              <a:gd name="connsiteX10" fmla="*/ 690521 w 756053"/>
              <a:gd name="connsiteY10" fmla="*/ 204788 h 654010"/>
              <a:gd name="connsiteX11" fmla="*/ 754815 w 756053"/>
              <a:gd name="connsiteY11" fmla="*/ 250032 h 654010"/>
              <a:gd name="connsiteX12" fmla="*/ 616419 w 756053"/>
              <a:gd name="connsiteY12" fmla="*/ 503140 h 654010"/>
              <a:gd name="connsiteX13" fmla="*/ 654609 w 756053"/>
              <a:gd name="connsiteY13" fmla="*/ 578072 h 654010"/>
              <a:gd name="connsiteX14" fmla="*/ 581706 w 756053"/>
              <a:gd name="connsiteY14" fmla="*/ 654010 h 654010"/>
              <a:gd name="connsiteX15" fmla="*/ 517167 w 756053"/>
              <a:gd name="connsiteY15" fmla="*/ 589588 h 654010"/>
              <a:gd name="connsiteX16" fmla="*/ 436689 w 756053"/>
              <a:gd name="connsiteY16" fmla="*/ 525140 h 654010"/>
              <a:gd name="connsiteX17" fmla="*/ 380488 w 756053"/>
              <a:gd name="connsiteY17" fmla="*/ 489900 h 654010"/>
              <a:gd name="connsiteX18" fmla="*/ 328100 w 756053"/>
              <a:gd name="connsiteY18" fmla="*/ 463706 h 654010"/>
              <a:gd name="connsiteX19" fmla="*/ 257617 w 756053"/>
              <a:gd name="connsiteY19" fmla="*/ 437193 h 654010"/>
              <a:gd name="connsiteX20" fmla="*/ 193006 w 756053"/>
              <a:gd name="connsiteY20" fmla="*/ 414018 h 654010"/>
              <a:gd name="connsiteX21" fmla="*/ 127598 w 756053"/>
              <a:gd name="connsiteY21" fmla="*/ 401954 h 654010"/>
              <a:gd name="connsiteX22" fmla="*/ 70767 w 756053"/>
              <a:gd name="connsiteY22" fmla="*/ 391004 h 654010"/>
              <a:gd name="connsiteX23" fmla="*/ 1804 w 756053"/>
              <a:gd name="connsiteY23" fmla="*/ 389286 h 654010"/>
              <a:gd name="connsiteX24" fmla="*/ 0 w 756053"/>
              <a:gd name="connsiteY24" fmla="*/ 262751 h 654010"/>
              <a:gd name="connsiteX0" fmla="*/ 0 w 756026"/>
              <a:gd name="connsiteY0" fmla="*/ 262751 h 654010"/>
              <a:gd name="connsiteX1" fmla="*/ 78540 w 756026"/>
              <a:gd name="connsiteY1" fmla="*/ 0 h 654010"/>
              <a:gd name="connsiteX2" fmla="*/ 152359 w 756026"/>
              <a:gd name="connsiteY2" fmla="*/ 4763 h 654010"/>
              <a:gd name="connsiteX3" fmla="*/ 216653 w 756026"/>
              <a:gd name="connsiteY3" fmla="*/ 14288 h 654010"/>
              <a:gd name="connsiteX4" fmla="*/ 269040 w 756026"/>
              <a:gd name="connsiteY4" fmla="*/ 26194 h 654010"/>
              <a:gd name="connsiteX5" fmla="*/ 347621 w 756026"/>
              <a:gd name="connsiteY5" fmla="*/ 47625 h 654010"/>
              <a:gd name="connsiteX6" fmla="*/ 419060 w 756026"/>
              <a:gd name="connsiteY6" fmla="*/ 69056 h 654010"/>
              <a:gd name="connsiteX7" fmla="*/ 478590 w 756026"/>
              <a:gd name="connsiteY7" fmla="*/ 95250 h 654010"/>
              <a:gd name="connsiteX8" fmla="*/ 552409 w 756026"/>
              <a:gd name="connsiteY8" fmla="*/ 126207 h 654010"/>
              <a:gd name="connsiteX9" fmla="*/ 635753 w 756026"/>
              <a:gd name="connsiteY9" fmla="*/ 169070 h 654010"/>
              <a:gd name="connsiteX10" fmla="*/ 690521 w 756026"/>
              <a:gd name="connsiteY10" fmla="*/ 204788 h 654010"/>
              <a:gd name="connsiteX11" fmla="*/ 754815 w 756026"/>
              <a:gd name="connsiteY11" fmla="*/ 250032 h 654010"/>
              <a:gd name="connsiteX12" fmla="*/ 612282 w 756026"/>
              <a:gd name="connsiteY12" fmla="*/ 529634 h 654010"/>
              <a:gd name="connsiteX13" fmla="*/ 654609 w 756026"/>
              <a:gd name="connsiteY13" fmla="*/ 578072 h 654010"/>
              <a:gd name="connsiteX14" fmla="*/ 581706 w 756026"/>
              <a:gd name="connsiteY14" fmla="*/ 654010 h 654010"/>
              <a:gd name="connsiteX15" fmla="*/ 517167 w 756026"/>
              <a:gd name="connsiteY15" fmla="*/ 589588 h 654010"/>
              <a:gd name="connsiteX16" fmla="*/ 436689 w 756026"/>
              <a:gd name="connsiteY16" fmla="*/ 525140 h 654010"/>
              <a:gd name="connsiteX17" fmla="*/ 380488 w 756026"/>
              <a:gd name="connsiteY17" fmla="*/ 489900 h 654010"/>
              <a:gd name="connsiteX18" fmla="*/ 328100 w 756026"/>
              <a:gd name="connsiteY18" fmla="*/ 463706 h 654010"/>
              <a:gd name="connsiteX19" fmla="*/ 257617 w 756026"/>
              <a:gd name="connsiteY19" fmla="*/ 437193 h 654010"/>
              <a:gd name="connsiteX20" fmla="*/ 193006 w 756026"/>
              <a:gd name="connsiteY20" fmla="*/ 414018 h 654010"/>
              <a:gd name="connsiteX21" fmla="*/ 127598 w 756026"/>
              <a:gd name="connsiteY21" fmla="*/ 401954 h 654010"/>
              <a:gd name="connsiteX22" fmla="*/ 70767 w 756026"/>
              <a:gd name="connsiteY22" fmla="*/ 391004 h 654010"/>
              <a:gd name="connsiteX23" fmla="*/ 1804 w 756026"/>
              <a:gd name="connsiteY23" fmla="*/ 389286 h 654010"/>
              <a:gd name="connsiteX24" fmla="*/ 0 w 756026"/>
              <a:gd name="connsiteY24" fmla="*/ 262751 h 654010"/>
              <a:gd name="connsiteX0" fmla="*/ 0 w 690521"/>
              <a:gd name="connsiteY0" fmla="*/ 262751 h 654010"/>
              <a:gd name="connsiteX1" fmla="*/ 78540 w 690521"/>
              <a:gd name="connsiteY1" fmla="*/ 0 h 654010"/>
              <a:gd name="connsiteX2" fmla="*/ 152359 w 690521"/>
              <a:gd name="connsiteY2" fmla="*/ 4763 h 654010"/>
              <a:gd name="connsiteX3" fmla="*/ 216653 w 690521"/>
              <a:gd name="connsiteY3" fmla="*/ 14288 h 654010"/>
              <a:gd name="connsiteX4" fmla="*/ 269040 w 690521"/>
              <a:gd name="connsiteY4" fmla="*/ 26194 h 654010"/>
              <a:gd name="connsiteX5" fmla="*/ 347621 w 690521"/>
              <a:gd name="connsiteY5" fmla="*/ 47625 h 654010"/>
              <a:gd name="connsiteX6" fmla="*/ 419060 w 690521"/>
              <a:gd name="connsiteY6" fmla="*/ 69056 h 654010"/>
              <a:gd name="connsiteX7" fmla="*/ 478590 w 690521"/>
              <a:gd name="connsiteY7" fmla="*/ 95250 h 654010"/>
              <a:gd name="connsiteX8" fmla="*/ 552409 w 690521"/>
              <a:gd name="connsiteY8" fmla="*/ 126207 h 654010"/>
              <a:gd name="connsiteX9" fmla="*/ 635753 w 690521"/>
              <a:gd name="connsiteY9" fmla="*/ 169070 h 654010"/>
              <a:gd name="connsiteX10" fmla="*/ 690521 w 690521"/>
              <a:gd name="connsiteY10" fmla="*/ 204788 h 654010"/>
              <a:gd name="connsiteX11" fmla="*/ 585420 w 690521"/>
              <a:gd name="connsiteY11" fmla="*/ 509993 h 654010"/>
              <a:gd name="connsiteX12" fmla="*/ 612282 w 690521"/>
              <a:gd name="connsiteY12" fmla="*/ 529634 h 654010"/>
              <a:gd name="connsiteX13" fmla="*/ 654609 w 690521"/>
              <a:gd name="connsiteY13" fmla="*/ 578072 h 654010"/>
              <a:gd name="connsiteX14" fmla="*/ 581706 w 690521"/>
              <a:gd name="connsiteY14" fmla="*/ 654010 h 654010"/>
              <a:gd name="connsiteX15" fmla="*/ 517167 w 690521"/>
              <a:gd name="connsiteY15" fmla="*/ 589588 h 654010"/>
              <a:gd name="connsiteX16" fmla="*/ 436689 w 690521"/>
              <a:gd name="connsiteY16" fmla="*/ 525140 h 654010"/>
              <a:gd name="connsiteX17" fmla="*/ 380488 w 690521"/>
              <a:gd name="connsiteY17" fmla="*/ 489900 h 654010"/>
              <a:gd name="connsiteX18" fmla="*/ 328100 w 690521"/>
              <a:gd name="connsiteY18" fmla="*/ 463706 h 654010"/>
              <a:gd name="connsiteX19" fmla="*/ 257617 w 690521"/>
              <a:gd name="connsiteY19" fmla="*/ 437193 h 654010"/>
              <a:gd name="connsiteX20" fmla="*/ 193006 w 690521"/>
              <a:gd name="connsiteY20" fmla="*/ 414018 h 654010"/>
              <a:gd name="connsiteX21" fmla="*/ 127598 w 690521"/>
              <a:gd name="connsiteY21" fmla="*/ 401954 h 654010"/>
              <a:gd name="connsiteX22" fmla="*/ 70767 w 690521"/>
              <a:gd name="connsiteY22" fmla="*/ 391004 h 654010"/>
              <a:gd name="connsiteX23" fmla="*/ 1804 w 690521"/>
              <a:gd name="connsiteY23" fmla="*/ 389286 h 654010"/>
              <a:gd name="connsiteX24" fmla="*/ 0 w 690521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478590 w 654609"/>
              <a:gd name="connsiteY7" fmla="*/ 95250 h 654010"/>
              <a:gd name="connsiteX8" fmla="*/ 552409 w 654609"/>
              <a:gd name="connsiteY8" fmla="*/ 126207 h 654010"/>
              <a:gd name="connsiteX9" fmla="*/ 635753 w 654609"/>
              <a:gd name="connsiteY9" fmla="*/ 169070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478590 w 654609"/>
              <a:gd name="connsiteY7" fmla="*/ 95250 h 654010"/>
              <a:gd name="connsiteX8" fmla="*/ 552409 w 654609"/>
              <a:gd name="connsiteY8" fmla="*/ 126207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478590 w 654609"/>
              <a:gd name="connsiteY7" fmla="*/ 95250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419060 w 654609"/>
              <a:gd name="connsiteY6" fmla="*/ 69056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347621 w 654609"/>
              <a:gd name="connsiteY5" fmla="*/ 47625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292643 w 654609"/>
              <a:gd name="connsiteY5" fmla="*/ 246235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292643 w 654609"/>
              <a:gd name="connsiteY5" fmla="*/ 246235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216653 w 654609"/>
              <a:gd name="connsiteY3" fmla="*/ 14288 h 654010"/>
              <a:gd name="connsiteX4" fmla="*/ 269040 w 654609"/>
              <a:gd name="connsiteY4" fmla="*/ 26194 h 654010"/>
              <a:gd name="connsiteX5" fmla="*/ 288636 w 654609"/>
              <a:gd name="connsiteY5" fmla="*/ 339839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193160 w 654609"/>
              <a:gd name="connsiteY3" fmla="*/ 42994 h 654010"/>
              <a:gd name="connsiteX4" fmla="*/ 269040 w 654609"/>
              <a:gd name="connsiteY4" fmla="*/ 26194 h 654010"/>
              <a:gd name="connsiteX5" fmla="*/ 288636 w 654609"/>
              <a:gd name="connsiteY5" fmla="*/ 339839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1 h 654010"/>
              <a:gd name="connsiteX1" fmla="*/ 78540 w 654609"/>
              <a:gd name="connsiteY1" fmla="*/ 0 h 654010"/>
              <a:gd name="connsiteX2" fmla="*/ 152359 w 654609"/>
              <a:gd name="connsiteY2" fmla="*/ 4763 h 654010"/>
              <a:gd name="connsiteX3" fmla="*/ 193160 w 654609"/>
              <a:gd name="connsiteY3" fmla="*/ 42994 h 654010"/>
              <a:gd name="connsiteX4" fmla="*/ 269040 w 654609"/>
              <a:gd name="connsiteY4" fmla="*/ 26194 h 654010"/>
              <a:gd name="connsiteX5" fmla="*/ 288636 w 654609"/>
              <a:gd name="connsiteY5" fmla="*/ 339839 h 654010"/>
              <a:gd name="connsiteX6" fmla="*/ 343260 w 654609"/>
              <a:gd name="connsiteY6" fmla="*/ 356029 h 654010"/>
              <a:gd name="connsiteX7" fmla="*/ 394856 w 654609"/>
              <a:gd name="connsiteY7" fmla="*/ 385393 h 654010"/>
              <a:gd name="connsiteX8" fmla="*/ 448053 w 654609"/>
              <a:gd name="connsiteY8" fmla="*/ 410788 h 654010"/>
              <a:gd name="connsiteX9" fmla="*/ 501254 w 654609"/>
              <a:gd name="connsiteY9" fmla="*/ 447292 h 654010"/>
              <a:gd name="connsiteX10" fmla="*/ 546982 w 654609"/>
              <a:gd name="connsiteY10" fmla="*/ 476502 h 654010"/>
              <a:gd name="connsiteX11" fmla="*/ 585420 w 654609"/>
              <a:gd name="connsiteY11" fmla="*/ 509993 h 654010"/>
              <a:gd name="connsiteX12" fmla="*/ 612282 w 654609"/>
              <a:gd name="connsiteY12" fmla="*/ 529634 h 654010"/>
              <a:gd name="connsiteX13" fmla="*/ 654609 w 654609"/>
              <a:gd name="connsiteY13" fmla="*/ 578072 h 654010"/>
              <a:gd name="connsiteX14" fmla="*/ 581706 w 654609"/>
              <a:gd name="connsiteY14" fmla="*/ 654010 h 654010"/>
              <a:gd name="connsiteX15" fmla="*/ 517167 w 654609"/>
              <a:gd name="connsiteY15" fmla="*/ 589588 h 654010"/>
              <a:gd name="connsiteX16" fmla="*/ 436689 w 654609"/>
              <a:gd name="connsiteY16" fmla="*/ 525140 h 654010"/>
              <a:gd name="connsiteX17" fmla="*/ 380488 w 654609"/>
              <a:gd name="connsiteY17" fmla="*/ 489900 h 654010"/>
              <a:gd name="connsiteX18" fmla="*/ 328100 w 654609"/>
              <a:gd name="connsiteY18" fmla="*/ 463706 h 654010"/>
              <a:gd name="connsiteX19" fmla="*/ 257617 w 654609"/>
              <a:gd name="connsiteY19" fmla="*/ 437193 h 654010"/>
              <a:gd name="connsiteX20" fmla="*/ 193006 w 654609"/>
              <a:gd name="connsiteY20" fmla="*/ 414018 h 654010"/>
              <a:gd name="connsiteX21" fmla="*/ 127598 w 654609"/>
              <a:gd name="connsiteY21" fmla="*/ 401954 h 654010"/>
              <a:gd name="connsiteX22" fmla="*/ 70767 w 654609"/>
              <a:gd name="connsiteY22" fmla="*/ 391004 h 654010"/>
              <a:gd name="connsiteX23" fmla="*/ 1804 w 654609"/>
              <a:gd name="connsiteY23" fmla="*/ 389286 h 654010"/>
              <a:gd name="connsiteX24" fmla="*/ 0 w 654609"/>
              <a:gd name="connsiteY24" fmla="*/ 262751 h 654010"/>
              <a:gd name="connsiteX0" fmla="*/ 0 w 654609"/>
              <a:gd name="connsiteY0" fmla="*/ 262752 h 654011"/>
              <a:gd name="connsiteX1" fmla="*/ 78540 w 654609"/>
              <a:gd name="connsiteY1" fmla="*/ 1 h 654011"/>
              <a:gd name="connsiteX2" fmla="*/ 89235 w 654609"/>
              <a:gd name="connsiteY2" fmla="*/ 206613 h 654011"/>
              <a:gd name="connsiteX3" fmla="*/ 152359 w 654609"/>
              <a:gd name="connsiteY3" fmla="*/ 4764 h 654011"/>
              <a:gd name="connsiteX4" fmla="*/ 193160 w 654609"/>
              <a:gd name="connsiteY4" fmla="*/ 42995 h 654011"/>
              <a:gd name="connsiteX5" fmla="*/ 269040 w 654609"/>
              <a:gd name="connsiteY5" fmla="*/ 26195 h 654011"/>
              <a:gd name="connsiteX6" fmla="*/ 288636 w 654609"/>
              <a:gd name="connsiteY6" fmla="*/ 339840 h 654011"/>
              <a:gd name="connsiteX7" fmla="*/ 343260 w 654609"/>
              <a:gd name="connsiteY7" fmla="*/ 356030 h 654011"/>
              <a:gd name="connsiteX8" fmla="*/ 394856 w 654609"/>
              <a:gd name="connsiteY8" fmla="*/ 385394 h 654011"/>
              <a:gd name="connsiteX9" fmla="*/ 448053 w 654609"/>
              <a:gd name="connsiteY9" fmla="*/ 410789 h 654011"/>
              <a:gd name="connsiteX10" fmla="*/ 501254 w 654609"/>
              <a:gd name="connsiteY10" fmla="*/ 447293 h 654011"/>
              <a:gd name="connsiteX11" fmla="*/ 546982 w 654609"/>
              <a:gd name="connsiteY11" fmla="*/ 476503 h 654011"/>
              <a:gd name="connsiteX12" fmla="*/ 585420 w 654609"/>
              <a:gd name="connsiteY12" fmla="*/ 509994 h 654011"/>
              <a:gd name="connsiteX13" fmla="*/ 612282 w 654609"/>
              <a:gd name="connsiteY13" fmla="*/ 529635 h 654011"/>
              <a:gd name="connsiteX14" fmla="*/ 654609 w 654609"/>
              <a:gd name="connsiteY14" fmla="*/ 578073 h 654011"/>
              <a:gd name="connsiteX15" fmla="*/ 581706 w 654609"/>
              <a:gd name="connsiteY15" fmla="*/ 654011 h 654011"/>
              <a:gd name="connsiteX16" fmla="*/ 517167 w 654609"/>
              <a:gd name="connsiteY16" fmla="*/ 589589 h 654011"/>
              <a:gd name="connsiteX17" fmla="*/ 436689 w 654609"/>
              <a:gd name="connsiteY17" fmla="*/ 525141 h 654011"/>
              <a:gd name="connsiteX18" fmla="*/ 380488 w 654609"/>
              <a:gd name="connsiteY18" fmla="*/ 489901 h 654011"/>
              <a:gd name="connsiteX19" fmla="*/ 328100 w 654609"/>
              <a:gd name="connsiteY19" fmla="*/ 463707 h 654011"/>
              <a:gd name="connsiteX20" fmla="*/ 257617 w 654609"/>
              <a:gd name="connsiteY20" fmla="*/ 437194 h 654011"/>
              <a:gd name="connsiteX21" fmla="*/ 193006 w 654609"/>
              <a:gd name="connsiteY21" fmla="*/ 414019 h 654011"/>
              <a:gd name="connsiteX22" fmla="*/ 127598 w 654609"/>
              <a:gd name="connsiteY22" fmla="*/ 401955 h 654011"/>
              <a:gd name="connsiteX23" fmla="*/ 70767 w 654609"/>
              <a:gd name="connsiteY23" fmla="*/ 391005 h 654011"/>
              <a:gd name="connsiteX24" fmla="*/ 1804 w 654609"/>
              <a:gd name="connsiteY24" fmla="*/ 389287 h 654011"/>
              <a:gd name="connsiteX25" fmla="*/ 0 w 654609"/>
              <a:gd name="connsiteY25" fmla="*/ 262752 h 654011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69040 w 654609"/>
              <a:gd name="connsiteY5" fmla="*/ 2143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18793 w 654609"/>
              <a:gd name="connsiteY5" fmla="*/ 28562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18793 w 654609"/>
              <a:gd name="connsiteY5" fmla="*/ 28562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93160 w 654609"/>
              <a:gd name="connsiteY4" fmla="*/ 38231 h 649247"/>
              <a:gd name="connsiteX5" fmla="*/ 201649 w 654609"/>
              <a:gd name="connsiteY5" fmla="*/ 30719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142084 w 654609"/>
              <a:gd name="connsiteY1" fmla="*/ 175019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39268 w 654609"/>
              <a:gd name="connsiteY4" fmla="*/ 292532 h 649247"/>
              <a:gd name="connsiteX5" fmla="*/ 201649 w 654609"/>
              <a:gd name="connsiteY5" fmla="*/ 30719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257988 h 649247"/>
              <a:gd name="connsiteX1" fmla="*/ 57172 w 654609"/>
              <a:gd name="connsiteY1" fmla="*/ 250343 h 649247"/>
              <a:gd name="connsiteX2" fmla="*/ 89235 w 654609"/>
              <a:gd name="connsiteY2" fmla="*/ 201849 h 649247"/>
              <a:gd name="connsiteX3" fmla="*/ 152359 w 654609"/>
              <a:gd name="connsiteY3" fmla="*/ 0 h 649247"/>
              <a:gd name="connsiteX4" fmla="*/ 139268 w 654609"/>
              <a:gd name="connsiteY4" fmla="*/ 292532 h 649247"/>
              <a:gd name="connsiteX5" fmla="*/ 201649 w 654609"/>
              <a:gd name="connsiteY5" fmla="*/ 307191 h 649247"/>
              <a:gd name="connsiteX6" fmla="*/ 288636 w 654609"/>
              <a:gd name="connsiteY6" fmla="*/ 335076 h 649247"/>
              <a:gd name="connsiteX7" fmla="*/ 343260 w 654609"/>
              <a:gd name="connsiteY7" fmla="*/ 351266 h 649247"/>
              <a:gd name="connsiteX8" fmla="*/ 394856 w 654609"/>
              <a:gd name="connsiteY8" fmla="*/ 380630 h 649247"/>
              <a:gd name="connsiteX9" fmla="*/ 448053 w 654609"/>
              <a:gd name="connsiteY9" fmla="*/ 406025 h 649247"/>
              <a:gd name="connsiteX10" fmla="*/ 501254 w 654609"/>
              <a:gd name="connsiteY10" fmla="*/ 442529 h 649247"/>
              <a:gd name="connsiteX11" fmla="*/ 546982 w 654609"/>
              <a:gd name="connsiteY11" fmla="*/ 471739 h 649247"/>
              <a:gd name="connsiteX12" fmla="*/ 585420 w 654609"/>
              <a:gd name="connsiteY12" fmla="*/ 505230 h 649247"/>
              <a:gd name="connsiteX13" fmla="*/ 612282 w 654609"/>
              <a:gd name="connsiteY13" fmla="*/ 524871 h 649247"/>
              <a:gd name="connsiteX14" fmla="*/ 654609 w 654609"/>
              <a:gd name="connsiteY14" fmla="*/ 573309 h 649247"/>
              <a:gd name="connsiteX15" fmla="*/ 581706 w 654609"/>
              <a:gd name="connsiteY15" fmla="*/ 649247 h 649247"/>
              <a:gd name="connsiteX16" fmla="*/ 517167 w 654609"/>
              <a:gd name="connsiteY16" fmla="*/ 584825 h 649247"/>
              <a:gd name="connsiteX17" fmla="*/ 436689 w 654609"/>
              <a:gd name="connsiteY17" fmla="*/ 520377 h 649247"/>
              <a:gd name="connsiteX18" fmla="*/ 380488 w 654609"/>
              <a:gd name="connsiteY18" fmla="*/ 485137 h 649247"/>
              <a:gd name="connsiteX19" fmla="*/ 328100 w 654609"/>
              <a:gd name="connsiteY19" fmla="*/ 458943 h 649247"/>
              <a:gd name="connsiteX20" fmla="*/ 257617 w 654609"/>
              <a:gd name="connsiteY20" fmla="*/ 432430 h 649247"/>
              <a:gd name="connsiteX21" fmla="*/ 193006 w 654609"/>
              <a:gd name="connsiteY21" fmla="*/ 409255 h 649247"/>
              <a:gd name="connsiteX22" fmla="*/ 127598 w 654609"/>
              <a:gd name="connsiteY22" fmla="*/ 397191 h 649247"/>
              <a:gd name="connsiteX23" fmla="*/ 70767 w 654609"/>
              <a:gd name="connsiteY23" fmla="*/ 386241 h 649247"/>
              <a:gd name="connsiteX24" fmla="*/ 1804 w 654609"/>
              <a:gd name="connsiteY24" fmla="*/ 384523 h 649247"/>
              <a:gd name="connsiteX25" fmla="*/ 0 w 654609"/>
              <a:gd name="connsiteY25" fmla="*/ 257988 h 649247"/>
              <a:gd name="connsiteX0" fmla="*/ 0 w 654609"/>
              <a:gd name="connsiteY0" fmla="*/ 56139 h 447398"/>
              <a:gd name="connsiteX1" fmla="*/ 57172 w 654609"/>
              <a:gd name="connsiteY1" fmla="*/ 48494 h 447398"/>
              <a:gd name="connsiteX2" fmla="*/ 89235 w 654609"/>
              <a:gd name="connsiteY2" fmla="*/ 0 h 447398"/>
              <a:gd name="connsiteX3" fmla="*/ 87981 w 654609"/>
              <a:gd name="connsiteY3" fmla="*/ 86080 h 447398"/>
              <a:gd name="connsiteX4" fmla="*/ 139268 w 654609"/>
              <a:gd name="connsiteY4" fmla="*/ 90683 h 447398"/>
              <a:gd name="connsiteX5" fmla="*/ 201649 w 654609"/>
              <a:gd name="connsiteY5" fmla="*/ 105342 h 447398"/>
              <a:gd name="connsiteX6" fmla="*/ 288636 w 654609"/>
              <a:gd name="connsiteY6" fmla="*/ 133227 h 447398"/>
              <a:gd name="connsiteX7" fmla="*/ 343260 w 654609"/>
              <a:gd name="connsiteY7" fmla="*/ 149417 h 447398"/>
              <a:gd name="connsiteX8" fmla="*/ 394856 w 654609"/>
              <a:gd name="connsiteY8" fmla="*/ 178781 h 447398"/>
              <a:gd name="connsiteX9" fmla="*/ 448053 w 654609"/>
              <a:gd name="connsiteY9" fmla="*/ 204176 h 447398"/>
              <a:gd name="connsiteX10" fmla="*/ 501254 w 654609"/>
              <a:gd name="connsiteY10" fmla="*/ 240680 h 447398"/>
              <a:gd name="connsiteX11" fmla="*/ 546982 w 654609"/>
              <a:gd name="connsiteY11" fmla="*/ 269890 h 447398"/>
              <a:gd name="connsiteX12" fmla="*/ 585420 w 654609"/>
              <a:gd name="connsiteY12" fmla="*/ 303381 h 447398"/>
              <a:gd name="connsiteX13" fmla="*/ 612282 w 654609"/>
              <a:gd name="connsiteY13" fmla="*/ 323022 h 447398"/>
              <a:gd name="connsiteX14" fmla="*/ 654609 w 654609"/>
              <a:gd name="connsiteY14" fmla="*/ 371460 h 447398"/>
              <a:gd name="connsiteX15" fmla="*/ 581706 w 654609"/>
              <a:gd name="connsiteY15" fmla="*/ 447398 h 447398"/>
              <a:gd name="connsiteX16" fmla="*/ 517167 w 654609"/>
              <a:gd name="connsiteY16" fmla="*/ 382976 h 447398"/>
              <a:gd name="connsiteX17" fmla="*/ 436689 w 654609"/>
              <a:gd name="connsiteY17" fmla="*/ 318528 h 447398"/>
              <a:gd name="connsiteX18" fmla="*/ 380488 w 654609"/>
              <a:gd name="connsiteY18" fmla="*/ 283288 h 447398"/>
              <a:gd name="connsiteX19" fmla="*/ 328100 w 654609"/>
              <a:gd name="connsiteY19" fmla="*/ 257094 h 447398"/>
              <a:gd name="connsiteX20" fmla="*/ 257617 w 654609"/>
              <a:gd name="connsiteY20" fmla="*/ 230581 h 447398"/>
              <a:gd name="connsiteX21" fmla="*/ 193006 w 654609"/>
              <a:gd name="connsiteY21" fmla="*/ 207406 h 447398"/>
              <a:gd name="connsiteX22" fmla="*/ 127598 w 654609"/>
              <a:gd name="connsiteY22" fmla="*/ 195342 h 447398"/>
              <a:gd name="connsiteX23" fmla="*/ 70767 w 654609"/>
              <a:gd name="connsiteY23" fmla="*/ 184392 h 447398"/>
              <a:gd name="connsiteX24" fmla="*/ 1804 w 654609"/>
              <a:gd name="connsiteY24" fmla="*/ 182674 h 447398"/>
              <a:gd name="connsiteX25" fmla="*/ 0 w 654609"/>
              <a:gd name="connsiteY25" fmla="*/ 56139 h 447398"/>
              <a:gd name="connsiteX0" fmla="*/ 0 w 654609"/>
              <a:gd name="connsiteY0" fmla="*/ 7653 h 398912"/>
              <a:gd name="connsiteX1" fmla="*/ 57172 w 654609"/>
              <a:gd name="connsiteY1" fmla="*/ 8 h 398912"/>
              <a:gd name="connsiteX2" fmla="*/ 57630 w 654609"/>
              <a:gd name="connsiteY2" fmla="*/ 31304 h 398912"/>
              <a:gd name="connsiteX3" fmla="*/ 87981 w 654609"/>
              <a:gd name="connsiteY3" fmla="*/ 37594 h 398912"/>
              <a:gd name="connsiteX4" fmla="*/ 139268 w 654609"/>
              <a:gd name="connsiteY4" fmla="*/ 42197 h 398912"/>
              <a:gd name="connsiteX5" fmla="*/ 201649 w 654609"/>
              <a:gd name="connsiteY5" fmla="*/ 56856 h 398912"/>
              <a:gd name="connsiteX6" fmla="*/ 288636 w 654609"/>
              <a:gd name="connsiteY6" fmla="*/ 84741 h 398912"/>
              <a:gd name="connsiteX7" fmla="*/ 343260 w 654609"/>
              <a:gd name="connsiteY7" fmla="*/ 100931 h 398912"/>
              <a:gd name="connsiteX8" fmla="*/ 394856 w 654609"/>
              <a:gd name="connsiteY8" fmla="*/ 130295 h 398912"/>
              <a:gd name="connsiteX9" fmla="*/ 448053 w 654609"/>
              <a:gd name="connsiteY9" fmla="*/ 155690 h 398912"/>
              <a:gd name="connsiteX10" fmla="*/ 501254 w 654609"/>
              <a:gd name="connsiteY10" fmla="*/ 192194 h 398912"/>
              <a:gd name="connsiteX11" fmla="*/ 546982 w 654609"/>
              <a:gd name="connsiteY11" fmla="*/ 221404 h 398912"/>
              <a:gd name="connsiteX12" fmla="*/ 585420 w 654609"/>
              <a:gd name="connsiteY12" fmla="*/ 254895 h 398912"/>
              <a:gd name="connsiteX13" fmla="*/ 612282 w 654609"/>
              <a:gd name="connsiteY13" fmla="*/ 274536 h 398912"/>
              <a:gd name="connsiteX14" fmla="*/ 654609 w 654609"/>
              <a:gd name="connsiteY14" fmla="*/ 322974 h 398912"/>
              <a:gd name="connsiteX15" fmla="*/ 581706 w 654609"/>
              <a:gd name="connsiteY15" fmla="*/ 398912 h 398912"/>
              <a:gd name="connsiteX16" fmla="*/ 517167 w 654609"/>
              <a:gd name="connsiteY16" fmla="*/ 334490 h 398912"/>
              <a:gd name="connsiteX17" fmla="*/ 436689 w 654609"/>
              <a:gd name="connsiteY17" fmla="*/ 270042 h 398912"/>
              <a:gd name="connsiteX18" fmla="*/ 380488 w 654609"/>
              <a:gd name="connsiteY18" fmla="*/ 234802 h 398912"/>
              <a:gd name="connsiteX19" fmla="*/ 328100 w 654609"/>
              <a:gd name="connsiteY19" fmla="*/ 208608 h 398912"/>
              <a:gd name="connsiteX20" fmla="*/ 257617 w 654609"/>
              <a:gd name="connsiteY20" fmla="*/ 182095 h 398912"/>
              <a:gd name="connsiteX21" fmla="*/ 193006 w 654609"/>
              <a:gd name="connsiteY21" fmla="*/ 158920 h 398912"/>
              <a:gd name="connsiteX22" fmla="*/ 127598 w 654609"/>
              <a:gd name="connsiteY22" fmla="*/ 146856 h 398912"/>
              <a:gd name="connsiteX23" fmla="*/ 70767 w 654609"/>
              <a:gd name="connsiteY23" fmla="*/ 135906 h 398912"/>
              <a:gd name="connsiteX24" fmla="*/ 1804 w 654609"/>
              <a:gd name="connsiteY24" fmla="*/ 134188 h 398912"/>
              <a:gd name="connsiteX25" fmla="*/ 0 w 654609"/>
              <a:gd name="connsiteY25" fmla="*/ 7653 h 398912"/>
              <a:gd name="connsiteX0" fmla="*/ 0 w 654609"/>
              <a:gd name="connsiteY0" fmla="*/ 0 h 391259"/>
              <a:gd name="connsiteX1" fmla="*/ 37009 w 654609"/>
              <a:gd name="connsiteY1" fmla="*/ 27092 h 391259"/>
              <a:gd name="connsiteX2" fmla="*/ 57630 w 654609"/>
              <a:gd name="connsiteY2" fmla="*/ 23651 h 391259"/>
              <a:gd name="connsiteX3" fmla="*/ 87981 w 654609"/>
              <a:gd name="connsiteY3" fmla="*/ 29941 h 391259"/>
              <a:gd name="connsiteX4" fmla="*/ 139268 w 654609"/>
              <a:gd name="connsiteY4" fmla="*/ 34544 h 391259"/>
              <a:gd name="connsiteX5" fmla="*/ 201649 w 654609"/>
              <a:gd name="connsiteY5" fmla="*/ 49203 h 391259"/>
              <a:gd name="connsiteX6" fmla="*/ 288636 w 654609"/>
              <a:gd name="connsiteY6" fmla="*/ 77088 h 391259"/>
              <a:gd name="connsiteX7" fmla="*/ 343260 w 654609"/>
              <a:gd name="connsiteY7" fmla="*/ 93278 h 391259"/>
              <a:gd name="connsiteX8" fmla="*/ 394856 w 654609"/>
              <a:gd name="connsiteY8" fmla="*/ 122642 h 391259"/>
              <a:gd name="connsiteX9" fmla="*/ 448053 w 654609"/>
              <a:gd name="connsiteY9" fmla="*/ 148037 h 391259"/>
              <a:gd name="connsiteX10" fmla="*/ 501254 w 654609"/>
              <a:gd name="connsiteY10" fmla="*/ 184541 h 391259"/>
              <a:gd name="connsiteX11" fmla="*/ 546982 w 654609"/>
              <a:gd name="connsiteY11" fmla="*/ 213751 h 391259"/>
              <a:gd name="connsiteX12" fmla="*/ 585420 w 654609"/>
              <a:gd name="connsiteY12" fmla="*/ 247242 h 391259"/>
              <a:gd name="connsiteX13" fmla="*/ 612282 w 654609"/>
              <a:gd name="connsiteY13" fmla="*/ 266883 h 391259"/>
              <a:gd name="connsiteX14" fmla="*/ 654609 w 654609"/>
              <a:gd name="connsiteY14" fmla="*/ 315321 h 391259"/>
              <a:gd name="connsiteX15" fmla="*/ 581706 w 654609"/>
              <a:gd name="connsiteY15" fmla="*/ 391259 h 391259"/>
              <a:gd name="connsiteX16" fmla="*/ 517167 w 654609"/>
              <a:gd name="connsiteY16" fmla="*/ 326837 h 391259"/>
              <a:gd name="connsiteX17" fmla="*/ 436689 w 654609"/>
              <a:gd name="connsiteY17" fmla="*/ 262389 h 391259"/>
              <a:gd name="connsiteX18" fmla="*/ 380488 w 654609"/>
              <a:gd name="connsiteY18" fmla="*/ 227149 h 391259"/>
              <a:gd name="connsiteX19" fmla="*/ 328100 w 654609"/>
              <a:gd name="connsiteY19" fmla="*/ 200955 h 391259"/>
              <a:gd name="connsiteX20" fmla="*/ 257617 w 654609"/>
              <a:gd name="connsiteY20" fmla="*/ 174442 h 391259"/>
              <a:gd name="connsiteX21" fmla="*/ 193006 w 654609"/>
              <a:gd name="connsiteY21" fmla="*/ 151267 h 391259"/>
              <a:gd name="connsiteX22" fmla="*/ 127598 w 654609"/>
              <a:gd name="connsiteY22" fmla="*/ 139203 h 391259"/>
              <a:gd name="connsiteX23" fmla="*/ 70767 w 654609"/>
              <a:gd name="connsiteY23" fmla="*/ 128253 h 391259"/>
              <a:gd name="connsiteX24" fmla="*/ 1804 w 654609"/>
              <a:gd name="connsiteY24" fmla="*/ 126535 h 391259"/>
              <a:gd name="connsiteX25" fmla="*/ 0 w 654609"/>
              <a:gd name="connsiteY25" fmla="*/ 0 h 391259"/>
              <a:gd name="connsiteX0" fmla="*/ 0 w 654619"/>
              <a:gd name="connsiteY0" fmla="*/ 0 h 368254"/>
              <a:gd name="connsiteX1" fmla="*/ 37019 w 654619"/>
              <a:gd name="connsiteY1" fmla="*/ 4087 h 368254"/>
              <a:gd name="connsiteX2" fmla="*/ 57640 w 654619"/>
              <a:gd name="connsiteY2" fmla="*/ 646 h 368254"/>
              <a:gd name="connsiteX3" fmla="*/ 87991 w 654619"/>
              <a:gd name="connsiteY3" fmla="*/ 6936 h 368254"/>
              <a:gd name="connsiteX4" fmla="*/ 139278 w 654619"/>
              <a:gd name="connsiteY4" fmla="*/ 11539 h 368254"/>
              <a:gd name="connsiteX5" fmla="*/ 201659 w 654619"/>
              <a:gd name="connsiteY5" fmla="*/ 26198 h 368254"/>
              <a:gd name="connsiteX6" fmla="*/ 288646 w 654619"/>
              <a:gd name="connsiteY6" fmla="*/ 54083 h 368254"/>
              <a:gd name="connsiteX7" fmla="*/ 343270 w 654619"/>
              <a:gd name="connsiteY7" fmla="*/ 70273 h 368254"/>
              <a:gd name="connsiteX8" fmla="*/ 394866 w 654619"/>
              <a:gd name="connsiteY8" fmla="*/ 99637 h 368254"/>
              <a:gd name="connsiteX9" fmla="*/ 448063 w 654619"/>
              <a:gd name="connsiteY9" fmla="*/ 125032 h 368254"/>
              <a:gd name="connsiteX10" fmla="*/ 501264 w 654619"/>
              <a:gd name="connsiteY10" fmla="*/ 161536 h 368254"/>
              <a:gd name="connsiteX11" fmla="*/ 546992 w 654619"/>
              <a:gd name="connsiteY11" fmla="*/ 190746 h 368254"/>
              <a:gd name="connsiteX12" fmla="*/ 585430 w 654619"/>
              <a:gd name="connsiteY12" fmla="*/ 224237 h 368254"/>
              <a:gd name="connsiteX13" fmla="*/ 612292 w 654619"/>
              <a:gd name="connsiteY13" fmla="*/ 243878 h 368254"/>
              <a:gd name="connsiteX14" fmla="*/ 654619 w 654619"/>
              <a:gd name="connsiteY14" fmla="*/ 292316 h 368254"/>
              <a:gd name="connsiteX15" fmla="*/ 581716 w 654619"/>
              <a:gd name="connsiteY15" fmla="*/ 368254 h 368254"/>
              <a:gd name="connsiteX16" fmla="*/ 517177 w 654619"/>
              <a:gd name="connsiteY16" fmla="*/ 303832 h 368254"/>
              <a:gd name="connsiteX17" fmla="*/ 436699 w 654619"/>
              <a:gd name="connsiteY17" fmla="*/ 239384 h 368254"/>
              <a:gd name="connsiteX18" fmla="*/ 380498 w 654619"/>
              <a:gd name="connsiteY18" fmla="*/ 204144 h 368254"/>
              <a:gd name="connsiteX19" fmla="*/ 328110 w 654619"/>
              <a:gd name="connsiteY19" fmla="*/ 177950 h 368254"/>
              <a:gd name="connsiteX20" fmla="*/ 257627 w 654619"/>
              <a:gd name="connsiteY20" fmla="*/ 151437 h 368254"/>
              <a:gd name="connsiteX21" fmla="*/ 193016 w 654619"/>
              <a:gd name="connsiteY21" fmla="*/ 128262 h 368254"/>
              <a:gd name="connsiteX22" fmla="*/ 127608 w 654619"/>
              <a:gd name="connsiteY22" fmla="*/ 116198 h 368254"/>
              <a:gd name="connsiteX23" fmla="*/ 70777 w 654619"/>
              <a:gd name="connsiteY23" fmla="*/ 105248 h 368254"/>
              <a:gd name="connsiteX24" fmla="*/ 1814 w 654619"/>
              <a:gd name="connsiteY24" fmla="*/ 103530 h 368254"/>
              <a:gd name="connsiteX25" fmla="*/ 0 w 654619"/>
              <a:gd name="connsiteY25" fmla="*/ 0 h 368254"/>
              <a:gd name="connsiteX0" fmla="*/ 0 w 654938"/>
              <a:gd name="connsiteY0" fmla="*/ 3162 h 367608"/>
              <a:gd name="connsiteX1" fmla="*/ 37338 w 654938"/>
              <a:gd name="connsiteY1" fmla="*/ 3441 h 367608"/>
              <a:gd name="connsiteX2" fmla="*/ 57959 w 654938"/>
              <a:gd name="connsiteY2" fmla="*/ 0 h 367608"/>
              <a:gd name="connsiteX3" fmla="*/ 88310 w 654938"/>
              <a:gd name="connsiteY3" fmla="*/ 6290 h 367608"/>
              <a:gd name="connsiteX4" fmla="*/ 139597 w 654938"/>
              <a:gd name="connsiteY4" fmla="*/ 10893 h 367608"/>
              <a:gd name="connsiteX5" fmla="*/ 201978 w 654938"/>
              <a:gd name="connsiteY5" fmla="*/ 25552 h 367608"/>
              <a:gd name="connsiteX6" fmla="*/ 288965 w 654938"/>
              <a:gd name="connsiteY6" fmla="*/ 53437 h 367608"/>
              <a:gd name="connsiteX7" fmla="*/ 343589 w 654938"/>
              <a:gd name="connsiteY7" fmla="*/ 69627 h 367608"/>
              <a:gd name="connsiteX8" fmla="*/ 395185 w 654938"/>
              <a:gd name="connsiteY8" fmla="*/ 98991 h 367608"/>
              <a:gd name="connsiteX9" fmla="*/ 448382 w 654938"/>
              <a:gd name="connsiteY9" fmla="*/ 124386 h 367608"/>
              <a:gd name="connsiteX10" fmla="*/ 501583 w 654938"/>
              <a:gd name="connsiteY10" fmla="*/ 160890 h 367608"/>
              <a:gd name="connsiteX11" fmla="*/ 547311 w 654938"/>
              <a:gd name="connsiteY11" fmla="*/ 190100 h 367608"/>
              <a:gd name="connsiteX12" fmla="*/ 585749 w 654938"/>
              <a:gd name="connsiteY12" fmla="*/ 223591 h 367608"/>
              <a:gd name="connsiteX13" fmla="*/ 612611 w 654938"/>
              <a:gd name="connsiteY13" fmla="*/ 243232 h 367608"/>
              <a:gd name="connsiteX14" fmla="*/ 654938 w 654938"/>
              <a:gd name="connsiteY14" fmla="*/ 291670 h 367608"/>
              <a:gd name="connsiteX15" fmla="*/ 582035 w 654938"/>
              <a:gd name="connsiteY15" fmla="*/ 367608 h 367608"/>
              <a:gd name="connsiteX16" fmla="*/ 517496 w 654938"/>
              <a:gd name="connsiteY16" fmla="*/ 303186 h 367608"/>
              <a:gd name="connsiteX17" fmla="*/ 437018 w 654938"/>
              <a:gd name="connsiteY17" fmla="*/ 238738 h 367608"/>
              <a:gd name="connsiteX18" fmla="*/ 380817 w 654938"/>
              <a:gd name="connsiteY18" fmla="*/ 203498 h 367608"/>
              <a:gd name="connsiteX19" fmla="*/ 328429 w 654938"/>
              <a:gd name="connsiteY19" fmla="*/ 177304 h 367608"/>
              <a:gd name="connsiteX20" fmla="*/ 257946 w 654938"/>
              <a:gd name="connsiteY20" fmla="*/ 150791 h 367608"/>
              <a:gd name="connsiteX21" fmla="*/ 193335 w 654938"/>
              <a:gd name="connsiteY21" fmla="*/ 127616 h 367608"/>
              <a:gd name="connsiteX22" fmla="*/ 127927 w 654938"/>
              <a:gd name="connsiteY22" fmla="*/ 115552 h 367608"/>
              <a:gd name="connsiteX23" fmla="*/ 71096 w 654938"/>
              <a:gd name="connsiteY23" fmla="*/ 104602 h 367608"/>
              <a:gd name="connsiteX24" fmla="*/ 2133 w 654938"/>
              <a:gd name="connsiteY24" fmla="*/ 102884 h 367608"/>
              <a:gd name="connsiteX25" fmla="*/ 0 w 654938"/>
              <a:gd name="connsiteY25" fmla="*/ 3162 h 367608"/>
              <a:gd name="connsiteX0" fmla="*/ 0 w 654938"/>
              <a:gd name="connsiteY0" fmla="*/ 3162 h 367608"/>
              <a:gd name="connsiteX1" fmla="*/ 43049 w 654938"/>
              <a:gd name="connsiteY1" fmla="*/ 3920 h 367608"/>
              <a:gd name="connsiteX2" fmla="*/ 57959 w 654938"/>
              <a:gd name="connsiteY2" fmla="*/ 0 h 367608"/>
              <a:gd name="connsiteX3" fmla="*/ 88310 w 654938"/>
              <a:gd name="connsiteY3" fmla="*/ 6290 h 367608"/>
              <a:gd name="connsiteX4" fmla="*/ 139597 w 654938"/>
              <a:gd name="connsiteY4" fmla="*/ 10893 h 367608"/>
              <a:gd name="connsiteX5" fmla="*/ 201978 w 654938"/>
              <a:gd name="connsiteY5" fmla="*/ 25552 h 367608"/>
              <a:gd name="connsiteX6" fmla="*/ 288965 w 654938"/>
              <a:gd name="connsiteY6" fmla="*/ 53437 h 367608"/>
              <a:gd name="connsiteX7" fmla="*/ 343589 w 654938"/>
              <a:gd name="connsiteY7" fmla="*/ 69627 h 367608"/>
              <a:gd name="connsiteX8" fmla="*/ 395185 w 654938"/>
              <a:gd name="connsiteY8" fmla="*/ 98991 h 367608"/>
              <a:gd name="connsiteX9" fmla="*/ 448382 w 654938"/>
              <a:gd name="connsiteY9" fmla="*/ 124386 h 367608"/>
              <a:gd name="connsiteX10" fmla="*/ 501583 w 654938"/>
              <a:gd name="connsiteY10" fmla="*/ 160890 h 367608"/>
              <a:gd name="connsiteX11" fmla="*/ 547311 w 654938"/>
              <a:gd name="connsiteY11" fmla="*/ 190100 h 367608"/>
              <a:gd name="connsiteX12" fmla="*/ 585749 w 654938"/>
              <a:gd name="connsiteY12" fmla="*/ 223591 h 367608"/>
              <a:gd name="connsiteX13" fmla="*/ 612611 w 654938"/>
              <a:gd name="connsiteY13" fmla="*/ 243232 h 367608"/>
              <a:gd name="connsiteX14" fmla="*/ 654938 w 654938"/>
              <a:gd name="connsiteY14" fmla="*/ 291670 h 367608"/>
              <a:gd name="connsiteX15" fmla="*/ 582035 w 654938"/>
              <a:gd name="connsiteY15" fmla="*/ 367608 h 367608"/>
              <a:gd name="connsiteX16" fmla="*/ 517496 w 654938"/>
              <a:gd name="connsiteY16" fmla="*/ 303186 h 367608"/>
              <a:gd name="connsiteX17" fmla="*/ 437018 w 654938"/>
              <a:gd name="connsiteY17" fmla="*/ 238738 h 367608"/>
              <a:gd name="connsiteX18" fmla="*/ 380817 w 654938"/>
              <a:gd name="connsiteY18" fmla="*/ 203498 h 367608"/>
              <a:gd name="connsiteX19" fmla="*/ 328429 w 654938"/>
              <a:gd name="connsiteY19" fmla="*/ 177304 h 367608"/>
              <a:gd name="connsiteX20" fmla="*/ 257946 w 654938"/>
              <a:gd name="connsiteY20" fmla="*/ 150791 h 367608"/>
              <a:gd name="connsiteX21" fmla="*/ 193335 w 654938"/>
              <a:gd name="connsiteY21" fmla="*/ 127616 h 367608"/>
              <a:gd name="connsiteX22" fmla="*/ 127927 w 654938"/>
              <a:gd name="connsiteY22" fmla="*/ 115552 h 367608"/>
              <a:gd name="connsiteX23" fmla="*/ 71096 w 654938"/>
              <a:gd name="connsiteY23" fmla="*/ 104602 h 367608"/>
              <a:gd name="connsiteX24" fmla="*/ 2133 w 654938"/>
              <a:gd name="connsiteY24" fmla="*/ 102884 h 367608"/>
              <a:gd name="connsiteX25" fmla="*/ 0 w 654938"/>
              <a:gd name="connsiteY25" fmla="*/ 3162 h 367608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88310 w 654938"/>
              <a:gd name="connsiteY3" fmla="*/ 3428 h 364746"/>
              <a:gd name="connsiteX4" fmla="*/ 139597 w 654938"/>
              <a:gd name="connsiteY4" fmla="*/ 8031 h 364746"/>
              <a:gd name="connsiteX5" fmla="*/ 201978 w 654938"/>
              <a:gd name="connsiteY5" fmla="*/ 22690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39597 w 654938"/>
              <a:gd name="connsiteY4" fmla="*/ 8031 h 364746"/>
              <a:gd name="connsiteX5" fmla="*/ 201978 w 654938"/>
              <a:gd name="connsiteY5" fmla="*/ 22690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01978 w 654938"/>
              <a:gd name="connsiteY5" fmla="*/ 22690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88965 w 654938"/>
              <a:gd name="connsiteY6" fmla="*/ 50575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3589 w 654938"/>
              <a:gd name="connsiteY7" fmla="*/ 66765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5185 w 654938"/>
              <a:gd name="connsiteY8" fmla="*/ 96129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48382 w 654938"/>
              <a:gd name="connsiteY9" fmla="*/ 121524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53934 w 654938"/>
              <a:gd name="connsiteY9" fmla="*/ 123906 h 364746"/>
              <a:gd name="connsiteX10" fmla="*/ 501583 w 654938"/>
              <a:gd name="connsiteY10" fmla="*/ 158028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17208 w 654938"/>
              <a:gd name="connsiteY5" fmla="*/ 23966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53934 w 654938"/>
              <a:gd name="connsiteY9" fmla="*/ 123906 h 364746"/>
              <a:gd name="connsiteX10" fmla="*/ 505232 w 654938"/>
              <a:gd name="connsiteY10" fmla="*/ 160250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300 h 364746"/>
              <a:gd name="connsiteX1" fmla="*/ 43049 w 654938"/>
              <a:gd name="connsiteY1" fmla="*/ 1058 h 364746"/>
              <a:gd name="connsiteX2" fmla="*/ 69221 w 654938"/>
              <a:gd name="connsiteY2" fmla="*/ 0 h 364746"/>
              <a:gd name="connsiteX3" fmla="*/ 97828 w 654938"/>
              <a:gd name="connsiteY3" fmla="*/ 4224 h 364746"/>
              <a:gd name="connsiteX4" fmla="*/ 154348 w 654938"/>
              <a:gd name="connsiteY4" fmla="*/ 15017 h 364746"/>
              <a:gd name="connsiteX5" fmla="*/ 220378 w 654938"/>
              <a:gd name="connsiteY5" fmla="*/ 31900 h 364746"/>
              <a:gd name="connsiteX6" fmla="*/ 296581 w 654938"/>
              <a:gd name="connsiteY6" fmla="*/ 51213 h 364746"/>
              <a:gd name="connsiteX7" fmla="*/ 347078 w 654938"/>
              <a:gd name="connsiteY7" fmla="*/ 70890 h 364746"/>
              <a:gd name="connsiteX8" fmla="*/ 398993 w 654938"/>
              <a:gd name="connsiteY8" fmla="*/ 96446 h 364746"/>
              <a:gd name="connsiteX9" fmla="*/ 453934 w 654938"/>
              <a:gd name="connsiteY9" fmla="*/ 123906 h 364746"/>
              <a:gd name="connsiteX10" fmla="*/ 505232 w 654938"/>
              <a:gd name="connsiteY10" fmla="*/ 160250 h 364746"/>
              <a:gd name="connsiteX11" fmla="*/ 547311 w 654938"/>
              <a:gd name="connsiteY11" fmla="*/ 187238 h 364746"/>
              <a:gd name="connsiteX12" fmla="*/ 585749 w 654938"/>
              <a:gd name="connsiteY12" fmla="*/ 220729 h 364746"/>
              <a:gd name="connsiteX13" fmla="*/ 612611 w 654938"/>
              <a:gd name="connsiteY13" fmla="*/ 240370 h 364746"/>
              <a:gd name="connsiteX14" fmla="*/ 654938 w 654938"/>
              <a:gd name="connsiteY14" fmla="*/ 288808 h 364746"/>
              <a:gd name="connsiteX15" fmla="*/ 582035 w 654938"/>
              <a:gd name="connsiteY15" fmla="*/ 364746 h 364746"/>
              <a:gd name="connsiteX16" fmla="*/ 517496 w 654938"/>
              <a:gd name="connsiteY16" fmla="*/ 300324 h 364746"/>
              <a:gd name="connsiteX17" fmla="*/ 437018 w 654938"/>
              <a:gd name="connsiteY17" fmla="*/ 235876 h 364746"/>
              <a:gd name="connsiteX18" fmla="*/ 380817 w 654938"/>
              <a:gd name="connsiteY18" fmla="*/ 200636 h 364746"/>
              <a:gd name="connsiteX19" fmla="*/ 328429 w 654938"/>
              <a:gd name="connsiteY19" fmla="*/ 174442 h 364746"/>
              <a:gd name="connsiteX20" fmla="*/ 257946 w 654938"/>
              <a:gd name="connsiteY20" fmla="*/ 147929 h 364746"/>
              <a:gd name="connsiteX21" fmla="*/ 193335 w 654938"/>
              <a:gd name="connsiteY21" fmla="*/ 124754 h 364746"/>
              <a:gd name="connsiteX22" fmla="*/ 127927 w 654938"/>
              <a:gd name="connsiteY22" fmla="*/ 112690 h 364746"/>
              <a:gd name="connsiteX23" fmla="*/ 71096 w 654938"/>
              <a:gd name="connsiteY23" fmla="*/ 101740 h 364746"/>
              <a:gd name="connsiteX24" fmla="*/ 2133 w 654938"/>
              <a:gd name="connsiteY24" fmla="*/ 100022 h 364746"/>
              <a:gd name="connsiteX25" fmla="*/ 0 w 654938"/>
              <a:gd name="connsiteY25" fmla="*/ 300 h 364746"/>
              <a:gd name="connsiteX0" fmla="*/ 0 w 654938"/>
              <a:gd name="connsiteY0" fmla="*/ 0 h 364446"/>
              <a:gd name="connsiteX1" fmla="*/ 43049 w 654938"/>
              <a:gd name="connsiteY1" fmla="*/ 758 h 364446"/>
              <a:gd name="connsiteX2" fmla="*/ 68902 w 654938"/>
              <a:gd name="connsiteY2" fmla="*/ 3507 h 364446"/>
              <a:gd name="connsiteX3" fmla="*/ 97828 w 654938"/>
              <a:gd name="connsiteY3" fmla="*/ 3924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581 w 654938"/>
              <a:gd name="connsiteY6" fmla="*/ 50913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97828 w 654938"/>
              <a:gd name="connsiteY3" fmla="*/ 3924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581 w 654938"/>
              <a:gd name="connsiteY6" fmla="*/ 50913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581 w 654938"/>
              <a:gd name="connsiteY6" fmla="*/ 50913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7078 w 654938"/>
              <a:gd name="connsiteY7" fmla="*/ 70590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993 w 654938"/>
              <a:gd name="connsiteY8" fmla="*/ 96146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3934 w 654938"/>
              <a:gd name="connsiteY9" fmla="*/ 123606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5232 w 654938"/>
              <a:gd name="connsiteY10" fmla="*/ 159950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7311 w 654938"/>
              <a:gd name="connsiteY11" fmla="*/ 186938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5248 w 654938"/>
              <a:gd name="connsiteY11" fmla="*/ 188681 h 364446"/>
              <a:gd name="connsiteX12" fmla="*/ 585749 w 654938"/>
              <a:gd name="connsiteY12" fmla="*/ 220429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5248 w 654938"/>
              <a:gd name="connsiteY11" fmla="*/ 188681 h 364446"/>
              <a:gd name="connsiteX12" fmla="*/ 581623 w 654938"/>
              <a:gd name="connsiteY12" fmla="*/ 223918 h 364446"/>
              <a:gd name="connsiteX13" fmla="*/ 612611 w 654938"/>
              <a:gd name="connsiteY13" fmla="*/ 240070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5248 w 654938"/>
              <a:gd name="connsiteY11" fmla="*/ 188681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51552 w 654938"/>
              <a:gd name="connsiteY9" fmla="*/ 129158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378 w 654938"/>
              <a:gd name="connsiteY5" fmla="*/ 31600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49489 w 654938"/>
              <a:gd name="connsiteY9" fmla="*/ 130902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4348 w 654938"/>
              <a:gd name="connsiteY4" fmla="*/ 14717 h 364446"/>
              <a:gd name="connsiteX5" fmla="*/ 220060 w 654938"/>
              <a:gd name="connsiteY5" fmla="*/ 35407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49489 w 654938"/>
              <a:gd name="connsiteY9" fmla="*/ 130902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110675 w 654938"/>
              <a:gd name="connsiteY3" fmla="*/ 10751 h 364446"/>
              <a:gd name="connsiteX4" fmla="*/ 151966 w 654938"/>
              <a:gd name="connsiteY4" fmla="*/ 20269 h 364446"/>
              <a:gd name="connsiteX5" fmla="*/ 220060 w 654938"/>
              <a:gd name="connsiteY5" fmla="*/ 35407 h 364446"/>
              <a:gd name="connsiteX6" fmla="*/ 296102 w 654938"/>
              <a:gd name="connsiteY6" fmla="*/ 56625 h 364446"/>
              <a:gd name="connsiteX7" fmla="*/ 346441 w 654938"/>
              <a:gd name="connsiteY7" fmla="*/ 78206 h 364446"/>
              <a:gd name="connsiteX8" fmla="*/ 398514 w 654938"/>
              <a:gd name="connsiteY8" fmla="*/ 101857 h 364446"/>
              <a:gd name="connsiteX9" fmla="*/ 449489 w 654938"/>
              <a:gd name="connsiteY9" fmla="*/ 130902 h 364446"/>
              <a:gd name="connsiteX10" fmla="*/ 506656 w 654938"/>
              <a:gd name="connsiteY10" fmla="*/ 165821 h 364446"/>
              <a:gd name="connsiteX11" fmla="*/ 541281 w 654938"/>
              <a:gd name="connsiteY11" fmla="*/ 190266 h 364446"/>
              <a:gd name="connsiteX12" fmla="*/ 581623 w 654938"/>
              <a:gd name="connsiteY12" fmla="*/ 223918 h 364446"/>
              <a:gd name="connsiteX13" fmla="*/ 621013 w 654938"/>
              <a:gd name="connsiteY13" fmla="*/ 254193 h 364446"/>
              <a:gd name="connsiteX14" fmla="*/ 654938 w 654938"/>
              <a:gd name="connsiteY14" fmla="*/ 288508 h 364446"/>
              <a:gd name="connsiteX15" fmla="*/ 582035 w 654938"/>
              <a:gd name="connsiteY15" fmla="*/ 364446 h 364446"/>
              <a:gd name="connsiteX16" fmla="*/ 517496 w 654938"/>
              <a:gd name="connsiteY16" fmla="*/ 300024 h 364446"/>
              <a:gd name="connsiteX17" fmla="*/ 437018 w 654938"/>
              <a:gd name="connsiteY17" fmla="*/ 235576 h 364446"/>
              <a:gd name="connsiteX18" fmla="*/ 380817 w 654938"/>
              <a:gd name="connsiteY18" fmla="*/ 200336 h 364446"/>
              <a:gd name="connsiteX19" fmla="*/ 328429 w 654938"/>
              <a:gd name="connsiteY19" fmla="*/ 174142 h 364446"/>
              <a:gd name="connsiteX20" fmla="*/ 257946 w 654938"/>
              <a:gd name="connsiteY20" fmla="*/ 147629 h 364446"/>
              <a:gd name="connsiteX21" fmla="*/ 193335 w 654938"/>
              <a:gd name="connsiteY21" fmla="*/ 124454 h 364446"/>
              <a:gd name="connsiteX22" fmla="*/ 127927 w 654938"/>
              <a:gd name="connsiteY22" fmla="*/ 112390 h 364446"/>
              <a:gd name="connsiteX23" fmla="*/ 71096 w 654938"/>
              <a:gd name="connsiteY23" fmla="*/ 101440 h 364446"/>
              <a:gd name="connsiteX24" fmla="*/ 2133 w 654938"/>
              <a:gd name="connsiteY24" fmla="*/ 99722 h 364446"/>
              <a:gd name="connsiteX25" fmla="*/ 0 w 654938"/>
              <a:gd name="connsiteY25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7 h 364446"/>
              <a:gd name="connsiteX3" fmla="*/ 80165 w 654938"/>
              <a:gd name="connsiteY3" fmla="*/ 6366 h 364446"/>
              <a:gd name="connsiteX4" fmla="*/ 110675 w 654938"/>
              <a:gd name="connsiteY4" fmla="*/ 10751 h 364446"/>
              <a:gd name="connsiteX5" fmla="*/ 151966 w 654938"/>
              <a:gd name="connsiteY5" fmla="*/ 20269 h 364446"/>
              <a:gd name="connsiteX6" fmla="*/ 220060 w 654938"/>
              <a:gd name="connsiteY6" fmla="*/ 35407 h 364446"/>
              <a:gd name="connsiteX7" fmla="*/ 296102 w 654938"/>
              <a:gd name="connsiteY7" fmla="*/ 56625 h 364446"/>
              <a:gd name="connsiteX8" fmla="*/ 346441 w 654938"/>
              <a:gd name="connsiteY8" fmla="*/ 78206 h 364446"/>
              <a:gd name="connsiteX9" fmla="*/ 398514 w 654938"/>
              <a:gd name="connsiteY9" fmla="*/ 101857 h 364446"/>
              <a:gd name="connsiteX10" fmla="*/ 449489 w 654938"/>
              <a:gd name="connsiteY10" fmla="*/ 130902 h 364446"/>
              <a:gd name="connsiteX11" fmla="*/ 506656 w 654938"/>
              <a:gd name="connsiteY11" fmla="*/ 165821 h 364446"/>
              <a:gd name="connsiteX12" fmla="*/ 541281 w 654938"/>
              <a:gd name="connsiteY12" fmla="*/ 190266 h 364446"/>
              <a:gd name="connsiteX13" fmla="*/ 581623 w 654938"/>
              <a:gd name="connsiteY13" fmla="*/ 223918 h 364446"/>
              <a:gd name="connsiteX14" fmla="*/ 621013 w 654938"/>
              <a:gd name="connsiteY14" fmla="*/ 254193 h 364446"/>
              <a:gd name="connsiteX15" fmla="*/ 654938 w 654938"/>
              <a:gd name="connsiteY15" fmla="*/ 288508 h 364446"/>
              <a:gd name="connsiteX16" fmla="*/ 582035 w 654938"/>
              <a:gd name="connsiteY16" fmla="*/ 364446 h 364446"/>
              <a:gd name="connsiteX17" fmla="*/ 517496 w 654938"/>
              <a:gd name="connsiteY17" fmla="*/ 300024 h 364446"/>
              <a:gd name="connsiteX18" fmla="*/ 437018 w 654938"/>
              <a:gd name="connsiteY18" fmla="*/ 235576 h 364446"/>
              <a:gd name="connsiteX19" fmla="*/ 380817 w 654938"/>
              <a:gd name="connsiteY19" fmla="*/ 200336 h 364446"/>
              <a:gd name="connsiteX20" fmla="*/ 328429 w 654938"/>
              <a:gd name="connsiteY20" fmla="*/ 174142 h 364446"/>
              <a:gd name="connsiteX21" fmla="*/ 257946 w 654938"/>
              <a:gd name="connsiteY21" fmla="*/ 147629 h 364446"/>
              <a:gd name="connsiteX22" fmla="*/ 193335 w 654938"/>
              <a:gd name="connsiteY22" fmla="*/ 124454 h 364446"/>
              <a:gd name="connsiteX23" fmla="*/ 127927 w 654938"/>
              <a:gd name="connsiteY23" fmla="*/ 112390 h 364446"/>
              <a:gd name="connsiteX24" fmla="*/ 71096 w 654938"/>
              <a:gd name="connsiteY24" fmla="*/ 101440 h 364446"/>
              <a:gd name="connsiteX25" fmla="*/ 2133 w 654938"/>
              <a:gd name="connsiteY25" fmla="*/ 99722 h 364446"/>
              <a:gd name="connsiteX26" fmla="*/ 0 w 654938"/>
              <a:gd name="connsiteY26" fmla="*/ 0 h 364446"/>
              <a:gd name="connsiteX0" fmla="*/ 0 w 654938"/>
              <a:gd name="connsiteY0" fmla="*/ 0 h 364446"/>
              <a:gd name="connsiteX1" fmla="*/ 39083 w 654938"/>
              <a:gd name="connsiteY1" fmla="*/ 2344 h 364446"/>
              <a:gd name="connsiteX2" fmla="*/ 68902 w 654938"/>
              <a:gd name="connsiteY2" fmla="*/ 3506 h 364446"/>
              <a:gd name="connsiteX3" fmla="*/ 80165 w 654938"/>
              <a:gd name="connsiteY3" fmla="*/ 6366 h 364446"/>
              <a:gd name="connsiteX4" fmla="*/ 110675 w 654938"/>
              <a:gd name="connsiteY4" fmla="*/ 10751 h 364446"/>
              <a:gd name="connsiteX5" fmla="*/ 151966 w 654938"/>
              <a:gd name="connsiteY5" fmla="*/ 20269 h 364446"/>
              <a:gd name="connsiteX6" fmla="*/ 220060 w 654938"/>
              <a:gd name="connsiteY6" fmla="*/ 35407 h 364446"/>
              <a:gd name="connsiteX7" fmla="*/ 296102 w 654938"/>
              <a:gd name="connsiteY7" fmla="*/ 56625 h 364446"/>
              <a:gd name="connsiteX8" fmla="*/ 346441 w 654938"/>
              <a:gd name="connsiteY8" fmla="*/ 78206 h 364446"/>
              <a:gd name="connsiteX9" fmla="*/ 398514 w 654938"/>
              <a:gd name="connsiteY9" fmla="*/ 101857 h 364446"/>
              <a:gd name="connsiteX10" fmla="*/ 449489 w 654938"/>
              <a:gd name="connsiteY10" fmla="*/ 130902 h 364446"/>
              <a:gd name="connsiteX11" fmla="*/ 506656 w 654938"/>
              <a:gd name="connsiteY11" fmla="*/ 165821 h 364446"/>
              <a:gd name="connsiteX12" fmla="*/ 541281 w 654938"/>
              <a:gd name="connsiteY12" fmla="*/ 190266 h 364446"/>
              <a:gd name="connsiteX13" fmla="*/ 581623 w 654938"/>
              <a:gd name="connsiteY13" fmla="*/ 223918 h 364446"/>
              <a:gd name="connsiteX14" fmla="*/ 621013 w 654938"/>
              <a:gd name="connsiteY14" fmla="*/ 254193 h 364446"/>
              <a:gd name="connsiteX15" fmla="*/ 654938 w 654938"/>
              <a:gd name="connsiteY15" fmla="*/ 288508 h 364446"/>
              <a:gd name="connsiteX16" fmla="*/ 582035 w 654938"/>
              <a:gd name="connsiteY16" fmla="*/ 364446 h 364446"/>
              <a:gd name="connsiteX17" fmla="*/ 517496 w 654938"/>
              <a:gd name="connsiteY17" fmla="*/ 300024 h 364446"/>
              <a:gd name="connsiteX18" fmla="*/ 437018 w 654938"/>
              <a:gd name="connsiteY18" fmla="*/ 235576 h 364446"/>
              <a:gd name="connsiteX19" fmla="*/ 380817 w 654938"/>
              <a:gd name="connsiteY19" fmla="*/ 200336 h 364446"/>
              <a:gd name="connsiteX20" fmla="*/ 328429 w 654938"/>
              <a:gd name="connsiteY20" fmla="*/ 174142 h 364446"/>
              <a:gd name="connsiteX21" fmla="*/ 257946 w 654938"/>
              <a:gd name="connsiteY21" fmla="*/ 147629 h 364446"/>
              <a:gd name="connsiteX22" fmla="*/ 193335 w 654938"/>
              <a:gd name="connsiteY22" fmla="*/ 124454 h 364446"/>
              <a:gd name="connsiteX23" fmla="*/ 127927 w 654938"/>
              <a:gd name="connsiteY23" fmla="*/ 112390 h 364446"/>
              <a:gd name="connsiteX24" fmla="*/ 71096 w 654938"/>
              <a:gd name="connsiteY24" fmla="*/ 101440 h 364446"/>
              <a:gd name="connsiteX25" fmla="*/ 2133 w 654938"/>
              <a:gd name="connsiteY25" fmla="*/ 99722 h 364446"/>
              <a:gd name="connsiteX26" fmla="*/ 0 w 654938"/>
              <a:gd name="connsiteY26" fmla="*/ 0 h 364446"/>
              <a:gd name="connsiteX0" fmla="*/ 0 w 654938"/>
              <a:gd name="connsiteY0" fmla="*/ 0 h 364446"/>
              <a:gd name="connsiteX1" fmla="*/ 38764 w 654938"/>
              <a:gd name="connsiteY1" fmla="*/ 6151 h 364446"/>
              <a:gd name="connsiteX2" fmla="*/ 68902 w 654938"/>
              <a:gd name="connsiteY2" fmla="*/ 3506 h 364446"/>
              <a:gd name="connsiteX3" fmla="*/ 80165 w 654938"/>
              <a:gd name="connsiteY3" fmla="*/ 6366 h 364446"/>
              <a:gd name="connsiteX4" fmla="*/ 110675 w 654938"/>
              <a:gd name="connsiteY4" fmla="*/ 10751 h 364446"/>
              <a:gd name="connsiteX5" fmla="*/ 151966 w 654938"/>
              <a:gd name="connsiteY5" fmla="*/ 20269 h 364446"/>
              <a:gd name="connsiteX6" fmla="*/ 220060 w 654938"/>
              <a:gd name="connsiteY6" fmla="*/ 35407 h 364446"/>
              <a:gd name="connsiteX7" fmla="*/ 296102 w 654938"/>
              <a:gd name="connsiteY7" fmla="*/ 56625 h 364446"/>
              <a:gd name="connsiteX8" fmla="*/ 346441 w 654938"/>
              <a:gd name="connsiteY8" fmla="*/ 78206 h 364446"/>
              <a:gd name="connsiteX9" fmla="*/ 398514 w 654938"/>
              <a:gd name="connsiteY9" fmla="*/ 101857 h 364446"/>
              <a:gd name="connsiteX10" fmla="*/ 449489 w 654938"/>
              <a:gd name="connsiteY10" fmla="*/ 130902 h 364446"/>
              <a:gd name="connsiteX11" fmla="*/ 506656 w 654938"/>
              <a:gd name="connsiteY11" fmla="*/ 165821 h 364446"/>
              <a:gd name="connsiteX12" fmla="*/ 541281 w 654938"/>
              <a:gd name="connsiteY12" fmla="*/ 190266 h 364446"/>
              <a:gd name="connsiteX13" fmla="*/ 581623 w 654938"/>
              <a:gd name="connsiteY13" fmla="*/ 223918 h 364446"/>
              <a:gd name="connsiteX14" fmla="*/ 621013 w 654938"/>
              <a:gd name="connsiteY14" fmla="*/ 254193 h 364446"/>
              <a:gd name="connsiteX15" fmla="*/ 654938 w 654938"/>
              <a:gd name="connsiteY15" fmla="*/ 288508 h 364446"/>
              <a:gd name="connsiteX16" fmla="*/ 582035 w 654938"/>
              <a:gd name="connsiteY16" fmla="*/ 364446 h 364446"/>
              <a:gd name="connsiteX17" fmla="*/ 517496 w 654938"/>
              <a:gd name="connsiteY17" fmla="*/ 300024 h 364446"/>
              <a:gd name="connsiteX18" fmla="*/ 437018 w 654938"/>
              <a:gd name="connsiteY18" fmla="*/ 235576 h 364446"/>
              <a:gd name="connsiteX19" fmla="*/ 380817 w 654938"/>
              <a:gd name="connsiteY19" fmla="*/ 200336 h 364446"/>
              <a:gd name="connsiteX20" fmla="*/ 328429 w 654938"/>
              <a:gd name="connsiteY20" fmla="*/ 174142 h 364446"/>
              <a:gd name="connsiteX21" fmla="*/ 257946 w 654938"/>
              <a:gd name="connsiteY21" fmla="*/ 147629 h 364446"/>
              <a:gd name="connsiteX22" fmla="*/ 193335 w 654938"/>
              <a:gd name="connsiteY22" fmla="*/ 124454 h 364446"/>
              <a:gd name="connsiteX23" fmla="*/ 127927 w 654938"/>
              <a:gd name="connsiteY23" fmla="*/ 112390 h 364446"/>
              <a:gd name="connsiteX24" fmla="*/ 71096 w 654938"/>
              <a:gd name="connsiteY24" fmla="*/ 101440 h 364446"/>
              <a:gd name="connsiteX25" fmla="*/ 2133 w 654938"/>
              <a:gd name="connsiteY25" fmla="*/ 99722 h 364446"/>
              <a:gd name="connsiteX26" fmla="*/ 0 w 654938"/>
              <a:gd name="connsiteY26" fmla="*/ 0 h 364446"/>
              <a:gd name="connsiteX0" fmla="*/ 0 w 655257"/>
              <a:gd name="connsiteY0" fmla="*/ 323 h 360961"/>
              <a:gd name="connsiteX1" fmla="*/ 39083 w 655257"/>
              <a:gd name="connsiteY1" fmla="*/ 2666 h 360961"/>
              <a:gd name="connsiteX2" fmla="*/ 69221 w 655257"/>
              <a:gd name="connsiteY2" fmla="*/ 21 h 360961"/>
              <a:gd name="connsiteX3" fmla="*/ 80484 w 655257"/>
              <a:gd name="connsiteY3" fmla="*/ 2881 h 360961"/>
              <a:gd name="connsiteX4" fmla="*/ 110994 w 655257"/>
              <a:gd name="connsiteY4" fmla="*/ 7266 h 360961"/>
              <a:gd name="connsiteX5" fmla="*/ 152285 w 655257"/>
              <a:gd name="connsiteY5" fmla="*/ 16784 h 360961"/>
              <a:gd name="connsiteX6" fmla="*/ 220379 w 655257"/>
              <a:gd name="connsiteY6" fmla="*/ 31922 h 360961"/>
              <a:gd name="connsiteX7" fmla="*/ 296421 w 655257"/>
              <a:gd name="connsiteY7" fmla="*/ 53140 h 360961"/>
              <a:gd name="connsiteX8" fmla="*/ 346760 w 655257"/>
              <a:gd name="connsiteY8" fmla="*/ 74721 h 360961"/>
              <a:gd name="connsiteX9" fmla="*/ 398833 w 655257"/>
              <a:gd name="connsiteY9" fmla="*/ 98372 h 360961"/>
              <a:gd name="connsiteX10" fmla="*/ 449808 w 655257"/>
              <a:gd name="connsiteY10" fmla="*/ 127417 h 360961"/>
              <a:gd name="connsiteX11" fmla="*/ 506975 w 655257"/>
              <a:gd name="connsiteY11" fmla="*/ 162336 h 360961"/>
              <a:gd name="connsiteX12" fmla="*/ 541600 w 655257"/>
              <a:gd name="connsiteY12" fmla="*/ 186781 h 360961"/>
              <a:gd name="connsiteX13" fmla="*/ 581942 w 655257"/>
              <a:gd name="connsiteY13" fmla="*/ 220433 h 360961"/>
              <a:gd name="connsiteX14" fmla="*/ 621332 w 655257"/>
              <a:gd name="connsiteY14" fmla="*/ 250708 h 360961"/>
              <a:gd name="connsiteX15" fmla="*/ 655257 w 655257"/>
              <a:gd name="connsiteY15" fmla="*/ 285023 h 360961"/>
              <a:gd name="connsiteX16" fmla="*/ 582354 w 655257"/>
              <a:gd name="connsiteY16" fmla="*/ 360961 h 360961"/>
              <a:gd name="connsiteX17" fmla="*/ 517815 w 655257"/>
              <a:gd name="connsiteY17" fmla="*/ 296539 h 360961"/>
              <a:gd name="connsiteX18" fmla="*/ 437337 w 655257"/>
              <a:gd name="connsiteY18" fmla="*/ 232091 h 360961"/>
              <a:gd name="connsiteX19" fmla="*/ 381136 w 655257"/>
              <a:gd name="connsiteY19" fmla="*/ 196851 h 360961"/>
              <a:gd name="connsiteX20" fmla="*/ 328748 w 655257"/>
              <a:gd name="connsiteY20" fmla="*/ 170657 h 360961"/>
              <a:gd name="connsiteX21" fmla="*/ 258265 w 655257"/>
              <a:gd name="connsiteY21" fmla="*/ 144144 h 360961"/>
              <a:gd name="connsiteX22" fmla="*/ 193654 w 655257"/>
              <a:gd name="connsiteY22" fmla="*/ 120969 h 360961"/>
              <a:gd name="connsiteX23" fmla="*/ 128246 w 655257"/>
              <a:gd name="connsiteY23" fmla="*/ 108905 h 360961"/>
              <a:gd name="connsiteX24" fmla="*/ 71415 w 655257"/>
              <a:gd name="connsiteY24" fmla="*/ 97955 h 360961"/>
              <a:gd name="connsiteX25" fmla="*/ 2452 w 655257"/>
              <a:gd name="connsiteY25" fmla="*/ 96237 h 360961"/>
              <a:gd name="connsiteX26" fmla="*/ 0 w 655257"/>
              <a:gd name="connsiteY26" fmla="*/ 323 h 360961"/>
              <a:gd name="connsiteX0" fmla="*/ 0 w 655257"/>
              <a:gd name="connsiteY0" fmla="*/ 0 h 360638"/>
              <a:gd name="connsiteX1" fmla="*/ 39083 w 655257"/>
              <a:gd name="connsiteY1" fmla="*/ 2343 h 360638"/>
              <a:gd name="connsiteX2" fmla="*/ 80484 w 655257"/>
              <a:gd name="connsiteY2" fmla="*/ 2558 h 360638"/>
              <a:gd name="connsiteX3" fmla="*/ 110994 w 655257"/>
              <a:gd name="connsiteY3" fmla="*/ 6943 h 360638"/>
              <a:gd name="connsiteX4" fmla="*/ 152285 w 655257"/>
              <a:gd name="connsiteY4" fmla="*/ 16461 h 360638"/>
              <a:gd name="connsiteX5" fmla="*/ 220379 w 655257"/>
              <a:gd name="connsiteY5" fmla="*/ 31599 h 360638"/>
              <a:gd name="connsiteX6" fmla="*/ 296421 w 655257"/>
              <a:gd name="connsiteY6" fmla="*/ 52817 h 360638"/>
              <a:gd name="connsiteX7" fmla="*/ 346760 w 655257"/>
              <a:gd name="connsiteY7" fmla="*/ 74398 h 360638"/>
              <a:gd name="connsiteX8" fmla="*/ 398833 w 655257"/>
              <a:gd name="connsiteY8" fmla="*/ 98049 h 360638"/>
              <a:gd name="connsiteX9" fmla="*/ 449808 w 655257"/>
              <a:gd name="connsiteY9" fmla="*/ 127094 h 360638"/>
              <a:gd name="connsiteX10" fmla="*/ 506975 w 655257"/>
              <a:gd name="connsiteY10" fmla="*/ 162013 h 360638"/>
              <a:gd name="connsiteX11" fmla="*/ 541600 w 655257"/>
              <a:gd name="connsiteY11" fmla="*/ 186458 h 360638"/>
              <a:gd name="connsiteX12" fmla="*/ 581942 w 655257"/>
              <a:gd name="connsiteY12" fmla="*/ 220110 h 360638"/>
              <a:gd name="connsiteX13" fmla="*/ 621332 w 655257"/>
              <a:gd name="connsiteY13" fmla="*/ 250385 h 360638"/>
              <a:gd name="connsiteX14" fmla="*/ 655257 w 655257"/>
              <a:gd name="connsiteY14" fmla="*/ 284700 h 360638"/>
              <a:gd name="connsiteX15" fmla="*/ 582354 w 655257"/>
              <a:gd name="connsiteY15" fmla="*/ 360638 h 360638"/>
              <a:gd name="connsiteX16" fmla="*/ 517815 w 655257"/>
              <a:gd name="connsiteY16" fmla="*/ 296216 h 360638"/>
              <a:gd name="connsiteX17" fmla="*/ 437337 w 655257"/>
              <a:gd name="connsiteY17" fmla="*/ 231768 h 360638"/>
              <a:gd name="connsiteX18" fmla="*/ 381136 w 655257"/>
              <a:gd name="connsiteY18" fmla="*/ 196528 h 360638"/>
              <a:gd name="connsiteX19" fmla="*/ 328748 w 655257"/>
              <a:gd name="connsiteY19" fmla="*/ 170334 h 360638"/>
              <a:gd name="connsiteX20" fmla="*/ 258265 w 655257"/>
              <a:gd name="connsiteY20" fmla="*/ 143821 h 360638"/>
              <a:gd name="connsiteX21" fmla="*/ 193654 w 655257"/>
              <a:gd name="connsiteY21" fmla="*/ 120646 h 360638"/>
              <a:gd name="connsiteX22" fmla="*/ 128246 w 655257"/>
              <a:gd name="connsiteY22" fmla="*/ 108582 h 360638"/>
              <a:gd name="connsiteX23" fmla="*/ 71415 w 655257"/>
              <a:gd name="connsiteY23" fmla="*/ 97632 h 360638"/>
              <a:gd name="connsiteX24" fmla="*/ 2452 w 655257"/>
              <a:gd name="connsiteY24" fmla="*/ 95914 h 360638"/>
              <a:gd name="connsiteX25" fmla="*/ 0 w 655257"/>
              <a:gd name="connsiteY25" fmla="*/ 0 h 360638"/>
              <a:gd name="connsiteX0" fmla="*/ 0 w 655257"/>
              <a:gd name="connsiteY0" fmla="*/ 0 h 360638"/>
              <a:gd name="connsiteX1" fmla="*/ 39083 w 655257"/>
              <a:gd name="connsiteY1" fmla="*/ 2343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54472 w 655257"/>
              <a:gd name="connsiteY1" fmla="*/ 1715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54472 w 655257"/>
              <a:gd name="connsiteY1" fmla="*/ 1715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62088 w 655257"/>
              <a:gd name="connsiteY1" fmla="*/ 2353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332 w 655257"/>
              <a:gd name="connsiteY12" fmla="*/ 250385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60638"/>
              <a:gd name="connsiteX1" fmla="*/ 62088 w 655257"/>
              <a:gd name="connsiteY1" fmla="*/ 2353 h 360638"/>
              <a:gd name="connsiteX2" fmla="*/ 110994 w 655257"/>
              <a:gd name="connsiteY2" fmla="*/ 6943 h 360638"/>
              <a:gd name="connsiteX3" fmla="*/ 152285 w 655257"/>
              <a:gd name="connsiteY3" fmla="*/ 16461 h 360638"/>
              <a:gd name="connsiteX4" fmla="*/ 220379 w 655257"/>
              <a:gd name="connsiteY4" fmla="*/ 31599 h 360638"/>
              <a:gd name="connsiteX5" fmla="*/ 296421 w 655257"/>
              <a:gd name="connsiteY5" fmla="*/ 52817 h 360638"/>
              <a:gd name="connsiteX6" fmla="*/ 346760 w 655257"/>
              <a:gd name="connsiteY6" fmla="*/ 74398 h 360638"/>
              <a:gd name="connsiteX7" fmla="*/ 398833 w 655257"/>
              <a:gd name="connsiteY7" fmla="*/ 98049 h 360638"/>
              <a:gd name="connsiteX8" fmla="*/ 449808 w 655257"/>
              <a:gd name="connsiteY8" fmla="*/ 127094 h 360638"/>
              <a:gd name="connsiteX9" fmla="*/ 506975 w 655257"/>
              <a:gd name="connsiteY9" fmla="*/ 162013 h 360638"/>
              <a:gd name="connsiteX10" fmla="*/ 541600 w 655257"/>
              <a:gd name="connsiteY10" fmla="*/ 186458 h 360638"/>
              <a:gd name="connsiteX11" fmla="*/ 581942 w 655257"/>
              <a:gd name="connsiteY11" fmla="*/ 220110 h 360638"/>
              <a:gd name="connsiteX12" fmla="*/ 621173 w 655257"/>
              <a:gd name="connsiteY12" fmla="*/ 252289 h 360638"/>
              <a:gd name="connsiteX13" fmla="*/ 655257 w 655257"/>
              <a:gd name="connsiteY13" fmla="*/ 284700 h 360638"/>
              <a:gd name="connsiteX14" fmla="*/ 582354 w 655257"/>
              <a:gd name="connsiteY14" fmla="*/ 360638 h 360638"/>
              <a:gd name="connsiteX15" fmla="*/ 517815 w 655257"/>
              <a:gd name="connsiteY15" fmla="*/ 296216 h 360638"/>
              <a:gd name="connsiteX16" fmla="*/ 437337 w 655257"/>
              <a:gd name="connsiteY16" fmla="*/ 231768 h 360638"/>
              <a:gd name="connsiteX17" fmla="*/ 381136 w 655257"/>
              <a:gd name="connsiteY17" fmla="*/ 196528 h 360638"/>
              <a:gd name="connsiteX18" fmla="*/ 328748 w 655257"/>
              <a:gd name="connsiteY18" fmla="*/ 170334 h 360638"/>
              <a:gd name="connsiteX19" fmla="*/ 258265 w 655257"/>
              <a:gd name="connsiteY19" fmla="*/ 143821 h 360638"/>
              <a:gd name="connsiteX20" fmla="*/ 193654 w 655257"/>
              <a:gd name="connsiteY20" fmla="*/ 120646 h 360638"/>
              <a:gd name="connsiteX21" fmla="*/ 128246 w 655257"/>
              <a:gd name="connsiteY21" fmla="*/ 108582 h 360638"/>
              <a:gd name="connsiteX22" fmla="*/ 71415 w 655257"/>
              <a:gd name="connsiteY22" fmla="*/ 97632 h 360638"/>
              <a:gd name="connsiteX23" fmla="*/ 2452 w 655257"/>
              <a:gd name="connsiteY23" fmla="*/ 95914 h 360638"/>
              <a:gd name="connsiteX24" fmla="*/ 0 w 655257"/>
              <a:gd name="connsiteY24" fmla="*/ 0 h 360638"/>
              <a:gd name="connsiteX0" fmla="*/ 0 w 655257"/>
              <a:gd name="connsiteY0" fmla="*/ 0 h 352996"/>
              <a:gd name="connsiteX1" fmla="*/ 62088 w 655257"/>
              <a:gd name="connsiteY1" fmla="*/ 2353 h 352996"/>
              <a:gd name="connsiteX2" fmla="*/ 110994 w 655257"/>
              <a:gd name="connsiteY2" fmla="*/ 6943 h 352996"/>
              <a:gd name="connsiteX3" fmla="*/ 152285 w 655257"/>
              <a:gd name="connsiteY3" fmla="*/ 16461 h 352996"/>
              <a:gd name="connsiteX4" fmla="*/ 220379 w 655257"/>
              <a:gd name="connsiteY4" fmla="*/ 31599 h 352996"/>
              <a:gd name="connsiteX5" fmla="*/ 296421 w 655257"/>
              <a:gd name="connsiteY5" fmla="*/ 52817 h 352996"/>
              <a:gd name="connsiteX6" fmla="*/ 346760 w 655257"/>
              <a:gd name="connsiteY6" fmla="*/ 74398 h 352996"/>
              <a:gd name="connsiteX7" fmla="*/ 398833 w 655257"/>
              <a:gd name="connsiteY7" fmla="*/ 98049 h 352996"/>
              <a:gd name="connsiteX8" fmla="*/ 449808 w 655257"/>
              <a:gd name="connsiteY8" fmla="*/ 127094 h 352996"/>
              <a:gd name="connsiteX9" fmla="*/ 506975 w 655257"/>
              <a:gd name="connsiteY9" fmla="*/ 162013 h 352996"/>
              <a:gd name="connsiteX10" fmla="*/ 541600 w 655257"/>
              <a:gd name="connsiteY10" fmla="*/ 186458 h 352996"/>
              <a:gd name="connsiteX11" fmla="*/ 581942 w 655257"/>
              <a:gd name="connsiteY11" fmla="*/ 220110 h 352996"/>
              <a:gd name="connsiteX12" fmla="*/ 621173 w 655257"/>
              <a:gd name="connsiteY12" fmla="*/ 252289 h 352996"/>
              <a:gd name="connsiteX13" fmla="*/ 655257 w 655257"/>
              <a:gd name="connsiteY13" fmla="*/ 284700 h 352996"/>
              <a:gd name="connsiteX14" fmla="*/ 589996 w 655257"/>
              <a:gd name="connsiteY14" fmla="*/ 352996 h 352996"/>
              <a:gd name="connsiteX15" fmla="*/ 517815 w 655257"/>
              <a:gd name="connsiteY15" fmla="*/ 296216 h 352996"/>
              <a:gd name="connsiteX16" fmla="*/ 437337 w 655257"/>
              <a:gd name="connsiteY16" fmla="*/ 231768 h 352996"/>
              <a:gd name="connsiteX17" fmla="*/ 381136 w 655257"/>
              <a:gd name="connsiteY17" fmla="*/ 196528 h 352996"/>
              <a:gd name="connsiteX18" fmla="*/ 328748 w 655257"/>
              <a:gd name="connsiteY18" fmla="*/ 170334 h 352996"/>
              <a:gd name="connsiteX19" fmla="*/ 258265 w 655257"/>
              <a:gd name="connsiteY19" fmla="*/ 143821 h 352996"/>
              <a:gd name="connsiteX20" fmla="*/ 193654 w 655257"/>
              <a:gd name="connsiteY20" fmla="*/ 120646 h 352996"/>
              <a:gd name="connsiteX21" fmla="*/ 128246 w 655257"/>
              <a:gd name="connsiteY21" fmla="*/ 108582 h 352996"/>
              <a:gd name="connsiteX22" fmla="*/ 71415 w 655257"/>
              <a:gd name="connsiteY22" fmla="*/ 97632 h 352996"/>
              <a:gd name="connsiteX23" fmla="*/ 2452 w 655257"/>
              <a:gd name="connsiteY23" fmla="*/ 95914 h 352996"/>
              <a:gd name="connsiteX24" fmla="*/ 0 w 655257"/>
              <a:gd name="connsiteY24" fmla="*/ 0 h 352996"/>
              <a:gd name="connsiteX0" fmla="*/ 0 w 655257"/>
              <a:gd name="connsiteY0" fmla="*/ 0 h 352996"/>
              <a:gd name="connsiteX1" fmla="*/ 62088 w 655257"/>
              <a:gd name="connsiteY1" fmla="*/ 2353 h 352996"/>
              <a:gd name="connsiteX2" fmla="*/ 110994 w 655257"/>
              <a:gd name="connsiteY2" fmla="*/ 6943 h 352996"/>
              <a:gd name="connsiteX3" fmla="*/ 152285 w 655257"/>
              <a:gd name="connsiteY3" fmla="*/ 16461 h 352996"/>
              <a:gd name="connsiteX4" fmla="*/ 220379 w 655257"/>
              <a:gd name="connsiteY4" fmla="*/ 31599 h 352996"/>
              <a:gd name="connsiteX5" fmla="*/ 296421 w 655257"/>
              <a:gd name="connsiteY5" fmla="*/ 52817 h 352996"/>
              <a:gd name="connsiteX6" fmla="*/ 346760 w 655257"/>
              <a:gd name="connsiteY6" fmla="*/ 74398 h 352996"/>
              <a:gd name="connsiteX7" fmla="*/ 398833 w 655257"/>
              <a:gd name="connsiteY7" fmla="*/ 98049 h 352996"/>
              <a:gd name="connsiteX8" fmla="*/ 449808 w 655257"/>
              <a:gd name="connsiteY8" fmla="*/ 127094 h 352996"/>
              <a:gd name="connsiteX9" fmla="*/ 506975 w 655257"/>
              <a:gd name="connsiteY9" fmla="*/ 162013 h 352996"/>
              <a:gd name="connsiteX10" fmla="*/ 541600 w 655257"/>
              <a:gd name="connsiteY10" fmla="*/ 186458 h 352996"/>
              <a:gd name="connsiteX11" fmla="*/ 581942 w 655257"/>
              <a:gd name="connsiteY11" fmla="*/ 220110 h 352996"/>
              <a:gd name="connsiteX12" fmla="*/ 621173 w 655257"/>
              <a:gd name="connsiteY12" fmla="*/ 252289 h 352996"/>
              <a:gd name="connsiteX13" fmla="*/ 655257 w 655257"/>
              <a:gd name="connsiteY13" fmla="*/ 284700 h 352996"/>
              <a:gd name="connsiteX14" fmla="*/ 589996 w 655257"/>
              <a:gd name="connsiteY14" fmla="*/ 352996 h 352996"/>
              <a:gd name="connsiteX15" fmla="*/ 521636 w 655257"/>
              <a:gd name="connsiteY15" fmla="*/ 290484 h 352996"/>
              <a:gd name="connsiteX16" fmla="*/ 437337 w 655257"/>
              <a:gd name="connsiteY16" fmla="*/ 231768 h 352996"/>
              <a:gd name="connsiteX17" fmla="*/ 381136 w 655257"/>
              <a:gd name="connsiteY17" fmla="*/ 196528 h 352996"/>
              <a:gd name="connsiteX18" fmla="*/ 328748 w 655257"/>
              <a:gd name="connsiteY18" fmla="*/ 170334 h 352996"/>
              <a:gd name="connsiteX19" fmla="*/ 258265 w 655257"/>
              <a:gd name="connsiteY19" fmla="*/ 143821 h 352996"/>
              <a:gd name="connsiteX20" fmla="*/ 193654 w 655257"/>
              <a:gd name="connsiteY20" fmla="*/ 120646 h 352996"/>
              <a:gd name="connsiteX21" fmla="*/ 128246 w 655257"/>
              <a:gd name="connsiteY21" fmla="*/ 108582 h 352996"/>
              <a:gd name="connsiteX22" fmla="*/ 71415 w 655257"/>
              <a:gd name="connsiteY22" fmla="*/ 97632 h 352996"/>
              <a:gd name="connsiteX23" fmla="*/ 2452 w 655257"/>
              <a:gd name="connsiteY23" fmla="*/ 95914 h 352996"/>
              <a:gd name="connsiteX24" fmla="*/ 0 w 655257"/>
              <a:gd name="connsiteY24" fmla="*/ 0 h 352996"/>
              <a:gd name="connsiteX0" fmla="*/ 0 w 655257"/>
              <a:gd name="connsiteY0" fmla="*/ 0 h 352996"/>
              <a:gd name="connsiteX1" fmla="*/ 62088 w 655257"/>
              <a:gd name="connsiteY1" fmla="*/ 2353 h 352996"/>
              <a:gd name="connsiteX2" fmla="*/ 110994 w 655257"/>
              <a:gd name="connsiteY2" fmla="*/ 6943 h 352996"/>
              <a:gd name="connsiteX3" fmla="*/ 152285 w 655257"/>
              <a:gd name="connsiteY3" fmla="*/ 16461 h 352996"/>
              <a:gd name="connsiteX4" fmla="*/ 220379 w 655257"/>
              <a:gd name="connsiteY4" fmla="*/ 31599 h 352996"/>
              <a:gd name="connsiteX5" fmla="*/ 296421 w 655257"/>
              <a:gd name="connsiteY5" fmla="*/ 52817 h 352996"/>
              <a:gd name="connsiteX6" fmla="*/ 346760 w 655257"/>
              <a:gd name="connsiteY6" fmla="*/ 74398 h 352996"/>
              <a:gd name="connsiteX7" fmla="*/ 398833 w 655257"/>
              <a:gd name="connsiteY7" fmla="*/ 98049 h 352996"/>
              <a:gd name="connsiteX8" fmla="*/ 449808 w 655257"/>
              <a:gd name="connsiteY8" fmla="*/ 127094 h 352996"/>
              <a:gd name="connsiteX9" fmla="*/ 506975 w 655257"/>
              <a:gd name="connsiteY9" fmla="*/ 162013 h 352996"/>
              <a:gd name="connsiteX10" fmla="*/ 541600 w 655257"/>
              <a:gd name="connsiteY10" fmla="*/ 186458 h 352996"/>
              <a:gd name="connsiteX11" fmla="*/ 581942 w 655257"/>
              <a:gd name="connsiteY11" fmla="*/ 220110 h 352996"/>
              <a:gd name="connsiteX12" fmla="*/ 621173 w 655257"/>
              <a:gd name="connsiteY12" fmla="*/ 252289 h 352996"/>
              <a:gd name="connsiteX13" fmla="*/ 655257 w 655257"/>
              <a:gd name="connsiteY13" fmla="*/ 284700 h 352996"/>
              <a:gd name="connsiteX14" fmla="*/ 589996 w 655257"/>
              <a:gd name="connsiteY14" fmla="*/ 352996 h 352996"/>
              <a:gd name="connsiteX15" fmla="*/ 521636 w 655257"/>
              <a:gd name="connsiteY15" fmla="*/ 290484 h 352996"/>
              <a:gd name="connsiteX16" fmla="*/ 448800 w 655257"/>
              <a:gd name="connsiteY16" fmla="*/ 235589 h 352996"/>
              <a:gd name="connsiteX17" fmla="*/ 381136 w 655257"/>
              <a:gd name="connsiteY17" fmla="*/ 196528 h 352996"/>
              <a:gd name="connsiteX18" fmla="*/ 328748 w 655257"/>
              <a:gd name="connsiteY18" fmla="*/ 170334 h 352996"/>
              <a:gd name="connsiteX19" fmla="*/ 258265 w 655257"/>
              <a:gd name="connsiteY19" fmla="*/ 143821 h 352996"/>
              <a:gd name="connsiteX20" fmla="*/ 193654 w 655257"/>
              <a:gd name="connsiteY20" fmla="*/ 120646 h 352996"/>
              <a:gd name="connsiteX21" fmla="*/ 128246 w 655257"/>
              <a:gd name="connsiteY21" fmla="*/ 108582 h 352996"/>
              <a:gd name="connsiteX22" fmla="*/ 71415 w 655257"/>
              <a:gd name="connsiteY22" fmla="*/ 97632 h 352996"/>
              <a:gd name="connsiteX23" fmla="*/ 2452 w 655257"/>
              <a:gd name="connsiteY23" fmla="*/ 95914 h 352996"/>
              <a:gd name="connsiteX24" fmla="*/ 0 w 655257"/>
              <a:gd name="connsiteY24" fmla="*/ 0 h 352996"/>
              <a:gd name="connsiteX0" fmla="*/ 1711 w 656968"/>
              <a:gd name="connsiteY0" fmla="*/ 0 h 352996"/>
              <a:gd name="connsiteX1" fmla="*/ 63799 w 656968"/>
              <a:gd name="connsiteY1" fmla="*/ 2353 h 352996"/>
              <a:gd name="connsiteX2" fmla="*/ 112705 w 656968"/>
              <a:gd name="connsiteY2" fmla="*/ 6943 h 352996"/>
              <a:gd name="connsiteX3" fmla="*/ 153996 w 656968"/>
              <a:gd name="connsiteY3" fmla="*/ 16461 h 352996"/>
              <a:gd name="connsiteX4" fmla="*/ 222090 w 656968"/>
              <a:gd name="connsiteY4" fmla="*/ 31599 h 352996"/>
              <a:gd name="connsiteX5" fmla="*/ 298132 w 656968"/>
              <a:gd name="connsiteY5" fmla="*/ 52817 h 352996"/>
              <a:gd name="connsiteX6" fmla="*/ 348471 w 656968"/>
              <a:gd name="connsiteY6" fmla="*/ 74398 h 352996"/>
              <a:gd name="connsiteX7" fmla="*/ 400544 w 656968"/>
              <a:gd name="connsiteY7" fmla="*/ 98049 h 352996"/>
              <a:gd name="connsiteX8" fmla="*/ 451519 w 656968"/>
              <a:gd name="connsiteY8" fmla="*/ 127094 h 352996"/>
              <a:gd name="connsiteX9" fmla="*/ 508686 w 656968"/>
              <a:gd name="connsiteY9" fmla="*/ 162013 h 352996"/>
              <a:gd name="connsiteX10" fmla="*/ 543311 w 656968"/>
              <a:gd name="connsiteY10" fmla="*/ 186458 h 352996"/>
              <a:gd name="connsiteX11" fmla="*/ 583653 w 656968"/>
              <a:gd name="connsiteY11" fmla="*/ 220110 h 352996"/>
              <a:gd name="connsiteX12" fmla="*/ 622884 w 656968"/>
              <a:gd name="connsiteY12" fmla="*/ 252289 h 352996"/>
              <a:gd name="connsiteX13" fmla="*/ 656968 w 656968"/>
              <a:gd name="connsiteY13" fmla="*/ 284700 h 352996"/>
              <a:gd name="connsiteX14" fmla="*/ 591707 w 656968"/>
              <a:gd name="connsiteY14" fmla="*/ 352996 h 352996"/>
              <a:gd name="connsiteX15" fmla="*/ 523347 w 656968"/>
              <a:gd name="connsiteY15" fmla="*/ 290484 h 352996"/>
              <a:gd name="connsiteX16" fmla="*/ 450511 w 656968"/>
              <a:gd name="connsiteY16" fmla="*/ 235589 h 352996"/>
              <a:gd name="connsiteX17" fmla="*/ 382847 w 656968"/>
              <a:gd name="connsiteY17" fmla="*/ 196528 h 352996"/>
              <a:gd name="connsiteX18" fmla="*/ 330459 w 656968"/>
              <a:gd name="connsiteY18" fmla="*/ 170334 h 352996"/>
              <a:gd name="connsiteX19" fmla="*/ 259976 w 656968"/>
              <a:gd name="connsiteY19" fmla="*/ 143821 h 352996"/>
              <a:gd name="connsiteX20" fmla="*/ 195365 w 656968"/>
              <a:gd name="connsiteY20" fmla="*/ 120646 h 352996"/>
              <a:gd name="connsiteX21" fmla="*/ 129957 w 656968"/>
              <a:gd name="connsiteY21" fmla="*/ 108582 h 352996"/>
              <a:gd name="connsiteX22" fmla="*/ 73126 w 656968"/>
              <a:gd name="connsiteY22" fmla="*/ 97632 h 352996"/>
              <a:gd name="connsiteX23" fmla="*/ 341 w 656968"/>
              <a:gd name="connsiteY23" fmla="*/ 97824 h 352996"/>
              <a:gd name="connsiteX24" fmla="*/ 1711 w 656968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195564 w 657167"/>
              <a:gd name="connsiteY20" fmla="*/ 120646 h 352996"/>
              <a:gd name="connsiteX21" fmla="*/ 130156 w 657167"/>
              <a:gd name="connsiteY21" fmla="*/ 108582 h 352996"/>
              <a:gd name="connsiteX22" fmla="*/ 73325 w 657167"/>
              <a:gd name="connsiteY22" fmla="*/ 9763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195564 w 657167"/>
              <a:gd name="connsiteY20" fmla="*/ 120646 h 352996"/>
              <a:gd name="connsiteX21" fmla="*/ 130156 w 657167"/>
              <a:gd name="connsiteY21" fmla="*/ 108582 h 352996"/>
              <a:gd name="connsiteX22" fmla="*/ 73325 w 657167"/>
              <a:gd name="connsiteY22" fmla="*/ 9954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195564 w 657167"/>
              <a:gd name="connsiteY20" fmla="*/ 120646 h 352996"/>
              <a:gd name="connsiteX21" fmla="*/ 137798 w 657167"/>
              <a:gd name="connsiteY21" fmla="*/ 110493 h 352996"/>
              <a:gd name="connsiteX22" fmla="*/ 73325 w 657167"/>
              <a:gd name="connsiteY22" fmla="*/ 9954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52996"/>
              <a:gd name="connsiteX1" fmla="*/ 63998 w 657167"/>
              <a:gd name="connsiteY1" fmla="*/ 2353 h 352996"/>
              <a:gd name="connsiteX2" fmla="*/ 112904 w 657167"/>
              <a:gd name="connsiteY2" fmla="*/ 6943 h 352996"/>
              <a:gd name="connsiteX3" fmla="*/ 154195 w 657167"/>
              <a:gd name="connsiteY3" fmla="*/ 16461 h 352996"/>
              <a:gd name="connsiteX4" fmla="*/ 222289 w 657167"/>
              <a:gd name="connsiteY4" fmla="*/ 31599 h 352996"/>
              <a:gd name="connsiteX5" fmla="*/ 298331 w 657167"/>
              <a:gd name="connsiteY5" fmla="*/ 52817 h 352996"/>
              <a:gd name="connsiteX6" fmla="*/ 348670 w 657167"/>
              <a:gd name="connsiteY6" fmla="*/ 74398 h 352996"/>
              <a:gd name="connsiteX7" fmla="*/ 400743 w 657167"/>
              <a:gd name="connsiteY7" fmla="*/ 98049 h 352996"/>
              <a:gd name="connsiteX8" fmla="*/ 451718 w 657167"/>
              <a:gd name="connsiteY8" fmla="*/ 127094 h 352996"/>
              <a:gd name="connsiteX9" fmla="*/ 508885 w 657167"/>
              <a:gd name="connsiteY9" fmla="*/ 162013 h 352996"/>
              <a:gd name="connsiteX10" fmla="*/ 543510 w 657167"/>
              <a:gd name="connsiteY10" fmla="*/ 186458 h 352996"/>
              <a:gd name="connsiteX11" fmla="*/ 583852 w 657167"/>
              <a:gd name="connsiteY11" fmla="*/ 220110 h 352996"/>
              <a:gd name="connsiteX12" fmla="*/ 623083 w 657167"/>
              <a:gd name="connsiteY12" fmla="*/ 252289 h 352996"/>
              <a:gd name="connsiteX13" fmla="*/ 657167 w 657167"/>
              <a:gd name="connsiteY13" fmla="*/ 284700 h 352996"/>
              <a:gd name="connsiteX14" fmla="*/ 591906 w 657167"/>
              <a:gd name="connsiteY14" fmla="*/ 352996 h 352996"/>
              <a:gd name="connsiteX15" fmla="*/ 523546 w 657167"/>
              <a:gd name="connsiteY15" fmla="*/ 290484 h 352996"/>
              <a:gd name="connsiteX16" fmla="*/ 450710 w 657167"/>
              <a:gd name="connsiteY16" fmla="*/ 235589 h 352996"/>
              <a:gd name="connsiteX17" fmla="*/ 383046 w 657167"/>
              <a:gd name="connsiteY17" fmla="*/ 196528 h 352996"/>
              <a:gd name="connsiteX18" fmla="*/ 330658 w 657167"/>
              <a:gd name="connsiteY18" fmla="*/ 170334 h 352996"/>
              <a:gd name="connsiteX19" fmla="*/ 260175 w 657167"/>
              <a:gd name="connsiteY19" fmla="*/ 143821 h 352996"/>
              <a:gd name="connsiteX20" fmla="*/ 207026 w 657167"/>
              <a:gd name="connsiteY20" fmla="*/ 120646 h 352996"/>
              <a:gd name="connsiteX21" fmla="*/ 137798 w 657167"/>
              <a:gd name="connsiteY21" fmla="*/ 110493 h 352996"/>
              <a:gd name="connsiteX22" fmla="*/ 73325 w 657167"/>
              <a:gd name="connsiteY22" fmla="*/ 99542 h 352996"/>
              <a:gd name="connsiteX23" fmla="*/ 540 w 657167"/>
              <a:gd name="connsiteY23" fmla="*/ 97824 h 352996"/>
              <a:gd name="connsiteX24" fmla="*/ 0 w 657167"/>
              <a:gd name="connsiteY24" fmla="*/ 0 h 352996"/>
              <a:gd name="connsiteX0" fmla="*/ 0 w 657167"/>
              <a:gd name="connsiteY0" fmla="*/ 0 h 330071"/>
              <a:gd name="connsiteX1" fmla="*/ 63998 w 657167"/>
              <a:gd name="connsiteY1" fmla="*/ 2353 h 330071"/>
              <a:gd name="connsiteX2" fmla="*/ 112904 w 657167"/>
              <a:gd name="connsiteY2" fmla="*/ 6943 h 330071"/>
              <a:gd name="connsiteX3" fmla="*/ 154195 w 657167"/>
              <a:gd name="connsiteY3" fmla="*/ 16461 h 330071"/>
              <a:gd name="connsiteX4" fmla="*/ 222289 w 657167"/>
              <a:gd name="connsiteY4" fmla="*/ 31599 h 330071"/>
              <a:gd name="connsiteX5" fmla="*/ 298331 w 657167"/>
              <a:gd name="connsiteY5" fmla="*/ 52817 h 330071"/>
              <a:gd name="connsiteX6" fmla="*/ 348670 w 657167"/>
              <a:gd name="connsiteY6" fmla="*/ 74398 h 330071"/>
              <a:gd name="connsiteX7" fmla="*/ 400743 w 657167"/>
              <a:gd name="connsiteY7" fmla="*/ 98049 h 330071"/>
              <a:gd name="connsiteX8" fmla="*/ 451718 w 657167"/>
              <a:gd name="connsiteY8" fmla="*/ 127094 h 330071"/>
              <a:gd name="connsiteX9" fmla="*/ 508885 w 657167"/>
              <a:gd name="connsiteY9" fmla="*/ 162013 h 330071"/>
              <a:gd name="connsiteX10" fmla="*/ 543510 w 657167"/>
              <a:gd name="connsiteY10" fmla="*/ 186458 h 330071"/>
              <a:gd name="connsiteX11" fmla="*/ 583852 w 657167"/>
              <a:gd name="connsiteY11" fmla="*/ 220110 h 330071"/>
              <a:gd name="connsiteX12" fmla="*/ 623083 w 657167"/>
              <a:gd name="connsiteY12" fmla="*/ 252289 h 330071"/>
              <a:gd name="connsiteX13" fmla="*/ 657167 w 657167"/>
              <a:gd name="connsiteY13" fmla="*/ 284700 h 330071"/>
              <a:gd name="connsiteX14" fmla="*/ 563886 w 657167"/>
              <a:gd name="connsiteY14" fmla="*/ 330071 h 330071"/>
              <a:gd name="connsiteX15" fmla="*/ 523546 w 657167"/>
              <a:gd name="connsiteY15" fmla="*/ 290484 h 330071"/>
              <a:gd name="connsiteX16" fmla="*/ 450710 w 657167"/>
              <a:gd name="connsiteY16" fmla="*/ 235589 h 330071"/>
              <a:gd name="connsiteX17" fmla="*/ 383046 w 657167"/>
              <a:gd name="connsiteY17" fmla="*/ 196528 h 330071"/>
              <a:gd name="connsiteX18" fmla="*/ 330658 w 657167"/>
              <a:gd name="connsiteY18" fmla="*/ 170334 h 330071"/>
              <a:gd name="connsiteX19" fmla="*/ 260175 w 657167"/>
              <a:gd name="connsiteY19" fmla="*/ 143821 h 330071"/>
              <a:gd name="connsiteX20" fmla="*/ 207026 w 657167"/>
              <a:gd name="connsiteY20" fmla="*/ 120646 h 330071"/>
              <a:gd name="connsiteX21" fmla="*/ 137798 w 657167"/>
              <a:gd name="connsiteY21" fmla="*/ 110493 h 330071"/>
              <a:gd name="connsiteX22" fmla="*/ 73325 w 657167"/>
              <a:gd name="connsiteY22" fmla="*/ 99542 h 330071"/>
              <a:gd name="connsiteX23" fmla="*/ 540 w 657167"/>
              <a:gd name="connsiteY23" fmla="*/ 97824 h 330071"/>
              <a:gd name="connsiteX24" fmla="*/ 0 w 657167"/>
              <a:gd name="connsiteY24" fmla="*/ 0 h 330071"/>
              <a:gd name="connsiteX0" fmla="*/ 0 w 657305"/>
              <a:gd name="connsiteY0" fmla="*/ 0 h 330071"/>
              <a:gd name="connsiteX1" fmla="*/ 63998 w 657305"/>
              <a:gd name="connsiteY1" fmla="*/ 2353 h 330071"/>
              <a:gd name="connsiteX2" fmla="*/ 112904 w 657305"/>
              <a:gd name="connsiteY2" fmla="*/ 6943 h 330071"/>
              <a:gd name="connsiteX3" fmla="*/ 154195 w 657305"/>
              <a:gd name="connsiteY3" fmla="*/ 16461 h 330071"/>
              <a:gd name="connsiteX4" fmla="*/ 222289 w 657305"/>
              <a:gd name="connsiteY4" fmla="*/ 31599 h 330071"/>
              <a:gd name="connsiteX5" fmla="*/ 298331 w 657305"/>
              <a:gd name="connsiteY5" fmla="*/ 52817 h 330071"/>
              <a:gd name="connsiteX6" fmla="*/ 348670 w 657305"/>
              <a:gd name="connsiteY6" fmla="*/ 74398 h 330071"/>
              <a:gd name="connsiteX7" fmla="*/ 400743 w 657305"/>
              <a:gd name="connsiteY7" fmla="*/ 98049 h 330071"/>
              <a:gd name="connsiteX8" fmla="*/ 451718 w 657305"/>
              <a:gd name="connsiteY8" fmla="*/ 127094 h 330071"/>
              <a:gd name="connsiteX9" fmla="*/ 508885 w 657305"/>
              <a:gd name="connsiteY9" fmla="*/ 162013 h 330071"/>
              <a:gd name="connsiteX10" fmla="*/ 543510 w 657305"/>
              <a:gd name="connsiteY10" fmla="*/ 186458 h 330071"/>
              <a:gd name="connsiteX11" fmla="*/ 583852 w 657305"/>
              <a:gd name="connsiteY11" fmla="*/ 220110 h 330071"/>
              <a:gd name="connsiteX12" fmla="*/ 657167 w 657305"/>
              <a:gd name="connsiteY12" fmla="*/ 284700 h 330071"/>
              <a:gd name="connsiteX13" fmla="*/ 563886 w 657305"/>
              <a:gd name="connsiteY13" fmla="*/ 330071 h 330071"/>
              <a:gd name="connsiteX14" fmla="*/ 523546 w 657305"/>
              <a:gd name="connsiteY14" fmla="*/ 290484 h 330071"/>
              <a:gd name="connsiteX15" fmla="*/ 450710 w 657305"/>
              <a:gd name="connsiteY15" fmla="*/ 235589 h 330071"/>
              <a:gd name="connsiteX16" fmla="*/ 383046 w 657305"/>
              <a:gd name="connsiteY16" fmla="*/ 196528 h 330071"/>
              <a:gd name="connsiteX17" fmla="*/ 330658 w 657305"/>
              <a:gd name="connsiteY17" fmla="*/ 170334 h 330071"/>
              <a:gd name="connsiteX18" fmla="*/ 260175 w 657305"/>
              <a:gd name="connsiteY18" fmla="*/ 143821 h 330071"/>
              <a:gd name="connsiteX19" fmla="*/ 207026 w 657305"/>
              <a:gd name="connsiteY19" fmla="*/ 120646 h 330071"/>
              <a:gd name="connsiteX20" fmla="*/ 137798 w 657305"/>
              <a:gd name="connsiteY20" fmla="*/ 110493 h 330071"/>
              <a:gd name="connsiteX21" fmla="*/ 73325 w 657305"/>
              <a:gd name="connsiteY21" fmla="*/ 99542 h 330071"/>
              <a:gd name="connsiteX22" fmla="*/ 540 w 657305"/>
              <a:gd name="connsiteY22" fmla="*/ 97824 h 330071"/>
              <a:gd name="connsiteX23" fmla="*/ 0 w 657305"/>
              <a:gd name="connsiteY23" fmla="*/ 0 h 330071"/>
              <a:gd name="connsiteX0" fmla="*/ 0 w 657167"/>
              <a:gd name="connsiteY0" fmla="*/ 0 h 330071"/>
              <a:gd name="connsiteX1" fmla="*/ 63998 w 657167"/>
              <a:gd name="connsiteY1" fmla="*/ 2353 h 330071"/>
              <a:gd name="connsiteX2" fmla="*/ 112904 w 657167"/>
              <a:gd name="connsiteY2" fmla="*/ 6943 h 330071"/>
              <a:gd name="connsiteX3" fmla="*/ 154195 w 657167"/>
              <a:gd name="connsiteY3" fmla="*/ 16461 h 330071"/>
              <a:gd name="connsiteX4" fmla="*/ 222289 w 657167"/>
              <a:gd name="connsiteY4" fmla="*/ 31599 h 330071"/>
              <a:gd name="connsiteX5" fmla="*/ 298331 w 657167"/>
              <a:gd name="connsiteY5" fmla="*/ 52817 h 330071"/>
              <a:gd name="connsiteX6" fmla="*/ 348670 w 657167"/>
              <a:gd name="connsiteY6" fmla="*/ 74398 h 330071"/>
              <a:gd name="connsiteX7" fmla="*/ 400743 w 657167"/>
              <a:gd name="connsiteY7" fmla="*/ 98049 h 330071"/>
              <a:gd name="connsiteX8" fmla="*/ 451718 w 657167"/>
              <a:gd name="connsiteY8" fmla="*/ 127094 h 330071"/>
              <a:gd name="connsiteX9" fmla="*/ 508885 w 657167"/>
              <a:gd name="connsiteY9" fmla="*/ 162013 h 330071"/>
              <a:gd name="connsiteX10" fmla="*/ 543510 w 657167"/>
              <a:gd name="connsiteY10" fmla="*/ 186458 h 330071"/>
              <a:gd name="connsiteX11" fmla="*/ 583852 w 657167"/>
              <a:gd name="connsiteY11" fmla="*/ 220110 h 330071"/>
              <a:gd name="connsiteX12" fmla="*/ 657167 w 657167"/>
              <a:gd name="connsiteY12" fmla="*/ 284700 h 330071"/>
              <a:gd name="connsiteX13" fmla="*/ 563886 w 657167"/>
              <a:gd name="connsiteY13" fmla="*/ 330071 h 330071"/>
              <a:gd name="connsiteX14" fmla="*/ 523546 w 657167"/>
              <a:gd name="connsiteY14" fmla="*/ 290484 h 330071"/>
              <a:gd name="connsiteX15" fmla="*/ 450710 w 657167"/>
              <a:gd name="connsiteY15" fmla="*/ 235589 h 330071"/>
              <a:gd name="connsiteX16" fmla="*/ 383046 w 657167"/>
              <a:gd name="connsiteY16" fmla="*/ 196528 h 330071"/>
              <a:gd name="connsiteX17" fmla="*/ 330658 w 657167"/>
              <a:gd name="connsiteY17" fmla="*/ 170334 h 330071"/>
              <a:gd name="connsiteX18" fmla="*/ 260175 w 657167"/>
              <a:gd name="connsiteY18" fmla="*/ 143821 h 330071"/>
              <a:gd name="connsiteX19" fmla="*/ 207026 w 657167"/>
              <a:gd name="connsiteY19" fmla="*/ 120646 h 330071"/>
              <a:gd name="connsiteX20" fmla="*/ 137798 w 657167"/>
              <a:gd name="connsiteY20" fmla="*/ 110493 h 330071"/>
              <a:gd name="connsiteX21" fmla="*/ 73325 w 657167"/>
              <a:gd name="connsiteY21" fmla="*/ 99542 h 330071"/>
              <a:gd name="connsiteX22" fmla="*/ 540 w 657167"/>
              <a:gd name="connsiteY22" fmla="*/ 97824 h 330071"/>
              <a:gd name="connsiteX23" fmla="*/ 0 w 657167"/>
              <a:gd name="connsiteY23" fmla="*/ 0 h 330071"/>
              <a:gd name="connsiteX0" fmla="*/ 0 w 636152"/>
              <a:gd name="connsiteY0" fmla="*/ 0 h 330071"/>
              <a:gd name="connsiteX1" fmla="*/ 63998 w 636152"/>
              <a:gd name="connsiteY1" fmla="*/ 2353 h 330071"/>
              <a:gd name="connsiteX2" fmla="*/ 112904 w 636152"/>
              <a:gd name="connsiteY2" fmla="*/ 6943 h 330071"/>
              <a:gd name="connsiteX3" fmla="*/ 154195 w 636152"/>
              <a:gd name="connsiteY3" fmla="*/ 16461 h 330071"/>
              <a:gd name="connsiteX4" fmla="*/ 222289 w 636152"/>
              <a:gd name="connsiteY4" fmla="*/ 31599 h 330071"/>
              <a:gd name="connsiteX5" fmla="*/ 298331 w 636152"/>
              <a:gd name="connsiteY5" fmla="*/ 52817 h 330071"/>
              <a:gd name="connsiteX6" fmla="*/ 348670 w 636152"/>
              <a:gd name="connsiteY6" fmla="*/ 74398 h 330071"/>
              <a:gd name="connsiteX7" fmla="*/ 400743 w 636152"/>
              <a:gd name="connsiteY7" fmla="*/ 98049 h 330071"/>
              <a:gd name="connsiteX8" fmla="*/ 451718 w 636152"/>
              <a:gd name="connsiteY8" fmla="*/ 127094 h 330071"/>
              <a:gd name="connsiteX9" fmla="*/ 508885 w 636152"/>
              <a:gd name="connsiteY9" fmla="*/ 162013 h 330071"/>
              <a:gd name="connsiteX10" fmla="*/ 543510 w 636152"/>
              <a:gd name="connsiteY10" fmla="*/ 186458 h 330071"/>
              <a:gd name="connsiteX11" fmla="*/ 583852 w 636152"/>
              <a:gd name="connsiteY11" fmla="*/ 220110 h 330071"/>
              <a:gd name="connsiteX12" fmla="*/ 636152 w 636152"/>
              <a:gd name="connsiteY12" fmla="*/ 267506 h 330071"/>
              <a:gd name="connsiteX13" fmla="*/ 563886 w 636152"/>
              <a:gd name="connsiteY13" fmla="*/ 330071 h 330071"/>
              <a:gd name="connsiteX14" fmla="*/ 523546 w 636152"/>
              <a:gd name="connsiteY14" fmla="*/ 290484 h 330071"/>
              <a:gd name="connsiteX15" fmla="*/ 450710 w 636152"/>
              <a:gd name="connsiteY15" fmla="*/ 235589 h 330071"/>
              <a:gd name="connsiteX16" fmla="*/ 383046 w 636152"/>
              <a:gd name="connsiteY16" fmla="*/ 196528 h 330071"/>
              <a:gd name="connsiteX17" fmla="*/ 330658 w 636152"/>
              <a:gd name="connsiteY17" fmla="*/ 170334 h 330071"/>
              <a:gd name="connsiteX18" fmla="*/ 260175 w 636152"/>
              <a:gd name="connsiteY18" fmla="*/ 143821 h 330071"/>
              <a:gd name="connsiteX19" fmla="*/ 207026 w 636152"/>
              <a:gd name="connsiteY19" fmla="*/ 120646 h 330071"/>
              <a:gd name="connsiteX20" fmla="*/ 137798 w 636152"/>
              <a:gd name="connsiteY20" fmla="*/ 110493 h 330071"/>
              <a:gd name="connsiteX21" fmla="*/ 73325 w 636152"/>
              <a:gd name="connsiteY21" fmla="*/ 99542 h 330071"/>
              <a:gd name="connsiteX22" fmla="*/ 540 w 636152"/>
              <a:gd name="connsiteY22" fmla="*/ 97824 h 330071"/>
              <a:gd name="connsiteX23" fmla="*/ 0 w 636152"/>
              <a:gd name="connsiteY23" fmla="*/ 0 h 330071"/>
              <a:gd name="connsiteX0" fmla="*/ 0 w 630420"/>
              <a:gd name="connsiteY0" fmla="*/ 0 h 330071"/>
              <a:gd name="connsiteX1" fmla="*/ 63998 w 630420"/>
              <a:gd name="connsiteY1" fmla="*/ 2353 h 330071"/>
              <a:gd name="connsiteX2" fmla="*/ 112904 w 630420"/>
              <a:gd name="connsiteY2" fmla="*/ 6943 h 330071"/>
              <a:gd name="connsiteX3" fmla="*/ 154195 w 630420"/>
              <a:gd name="connsiteY3" fmla="*/ 16461 h 330071"/>
              <a:gd name="connsiteX4" fmla="*/ 222289 w 630420"/>
              <a:gd name="connsiteY4" fmla="*/ 31599 h 330071"/>
              <a:gd name="connsiteX5" fmla="*/ 298331 w 630420"/>
              <a:gd name="connsiteY5" fmla="*/ 52817 h 330071"/>
              <a:gd name="connsiteX6" fmla="*/ 348670 w 630420"/>
              <a:gd name="connsiteY6" fmla="*/ 74398 h 330071"/>
              <a:gd name="connsiteX7" fmla="*/ 400743 w 630420"/>
              <a:gd name="connsiteY7" fmla="*/ 98049 h 330071"/>
              <a:gd name="connsiteX8" fmla="*/ 451718 w 630420"/>
              <a:gd name="connsiteY8" fmla="*/ 127094 h 330071"/>
              <a:gd name="connsiteX9" fmla="*/ 508885 w 630420"/>
              <a:gd name="connsiteY9" fmla="*/ 162013 h 330071"/>
              <a:gd name="connsiteX10" fmla="*/ 543510 w 630420"/>
              <a:gd name="connsiteY10" fmla="*/ 186458 h 330071"/>
              <a:gd name="connsiteX11" fmla="*/ 583852 w 630420"/>
              <a:gd name="connsiteY11" fmla="*/ 220110 h 330071"/>
              <a:gd name="connsiteX12" fmla="*/ 630420 w 630420"/>
              <a:gd name="connsiteY12" fmla="*/ 263686 h 330071"/>
              <a:gd name="connsiteX13" fmla="*/ 563886 w 630420"/>
              <a:gd name="connsiteY13" fmla="*/ 330071 h 330071"/>
              <a:gd name="connsiteX14" fmla="*/ 523546 w 630420"/>
              <a:gd name="connsiteY14" fmla="*/ 290484 h 330071"/>
              <a:gd name="connsiteX15" fmla="*/ 450710 w 630420"/>
              <a:gd name="connsiteY15" fmla="*/ 235589 h 330071"/>
              <a:gd name="connsiteX16" fmla="*/ 383046 w 630420"/>
              <a:gd name="connsiteY16" fmla="*/ 196528 h 330071"/>
              <a:gd name="connsiteX17" fmla="*/ 330658 w 630420"/>
              <a:gd name="connsiteY17" fmla="*/ 170334 h 330071"/>
              <a:gd name="connsiteX18" fmla="*/ 260175 w 630420"/>
              <a:gd name="connsiteY18" fmla="*/ 143821 h 330071"/>
              <a:gd name="connsiteX19" fmla="*/ 207026 w 630420"/>
              <a:gd name="connsiteY19" fmla="*/ 120646 h 330071"/>
              <a:gd name="connsiteX20" fmla="*/ 137798 w 630420"/>
              <a:gd name="connsiteY20" fmla="*/ 110493 h 330071"/>
              <a:gd name="connsiteX21" fmla="*/ 73325 w 630420"/>
              <a:gd name="connsiteY21" fmla="*/ 99542 h 330071"/>
              <a:gd name="connsiteX22" fmla="*/ 540 w 630420"/>
              <a:gd name="connsiteY22" fmla="*/ 97824 h 330071"/>
              <a:gd name="connsiteX23" fmla="*/ 0 w 630420"/>
              <a:gd name="connsiteY23" fmla="*/ 0 h 330071"/>
              <a:gd name="connsiteX0" fmla="*/ 0 w 630420"/>
              <a:gd name="connsiteY0" fmla="*/ 0 h 316698"/>
              <a:gd name="connsiteX1" fmla="*/ 63998 w 630420"/>
              <a:gd name="connsiteY1" fmla="*/ 2353 h 316698"/>
              <a:gd name="connsiteX2" fmla="*/ 112904 w 630420"/>
              <a:gd name="connsiteY2" fmla="*/ 6943 h 316698"/>
              <a:gd name="connsiteX3" fmla="*/ 154195 w 630420"/>
              <a:gd name="connsiteY3" fmla="*/ 16461 h 316698"/>
              <a:gd name="connsiteX4" fmla="*/ 222289 w 630420"/>
              <a:gd name="connsiteY4" fmla="*/ 31599 h 316698"/>
              <a:gd name="connsiteX5" fmla="*/ 298331 w 630420"/>
              <a:gd name="connsiteY5" fmla="*/ 52817 h 316698"/>
              <a:gd name="connsiteX6" fmla="*/ 348670 w 630420"/>
              <a:gd name="connsiteY6" fmla="*/ 74398 h 316698"/>
              <a:gd name="connsiteX7" fmla="*/ 400743 w 630420"/>
              <a:gd name="connsiteY7" fmla="*/ 98049 h 316698"/>
              <a:gd name="connsiteX8" fmla="*/ 451718 w 630420"/>
              <a:gd name="connsiteY8" fmla="*/ 127094 h 316698"/>
              <a:gd name="connsiteX9" fmla="*/ 508885 w 630420"/>
              <a:gd name="connsiteY9" fmla="*/ 162013 h 316698"/>
              <a:gd name="connsiteX10" fmla="*/ 543510 w 630420"/>
              <a:gd name="connsiteY10" fmla="*/ 186458 h 316698"/>
              <a:gd name="connsiteX11" fmla="*/ 583852 w 630420"/>
              <a:gd name="connsiteY11" fmla="*/ 220110 h 316698"/>
              <a:gd name="connsiteX12" fmla="*/ 630420 w 630420"/>
              <a:gd name="connsiteY12" fmla="*/ 263686 h 316698"/>
              <a:gd name="connsiteX13" fmla="*/ 550513 w 630420"/>
              <a:gd name="connsiteY13" fmla="*/ 316698 h 316698"/>
              <a:gd name="connsiteX14" fmla="*/ 523546 w 630420"/>
              <a:gd name="connsiteY14" fmla="*/ 290484 h 316698"/>
              <a:gd name="connsiteX15" fmla="*/ 450710 w 630420"/>
              <a:gd name="connsiteY15" fmla="*/ 235589 h 316698"/>
              <a:gd name="connsiteX16" fmla="*/ 383046 w 630420"/>
              <a:gd name="connsiteY16" fmla="*/ 196528 h 316698"/>
              <a:gd name="connsiteX17" fmla="*/ 330658 w 630420"/>
              <a:gd name="connsiteY17" fmla="*/ 170334 h 316698"/>
              <a:gd name="connsiteX18" fmla="*/ 260175 w 630420"/>
              <a:gd name="connsiteY18" fmla="*/ 143821 h 316698"/>
              <a:gd name="connsiteX19" fmla="*/ 207026 w 630420"/>
              <a:gd name="connsiteY19" fmla="*/ 120646 h 316698"/>
              <a:gd name="connsiteX20" fmla="*/ 137798 w 630420"/>
              <a:gd name="connsiteY20" fmla="*/ 110493 h 316698"/>
              <a:gd name="connsiteX21" fmla="*/ 73325 w 630420"/>
              <a:gd name="connsiteY21" fmla="*/ 99542 h 316698"/>
              <a:gd name="connsiteX22" fmla="*/ 540 w 630420"/>
              <a:gd name="connsiteY22" fmla="*/ 97824 h 316698"/>
              <a:gd name="connsiteX23" fmla="*/ 0 w 630420"/>
              <a:gd name="connsiteY23" fmla="*/ 0 h 316698"/>
              <a:gd name="connsiteX0" fmla="*/ 0 w 630420"/>
              <a:gd name="connsiteY0" fmla="*/ 0 h 316698"/>
              <a:gd name="connsiteX1" fmla="*/ 63998 w 630420"/>
              <a:gd name="connsiteY1" fmla="*/ 2353 h 316698"/>
              <a:gd name="connsiteX2" fmla="*/ 112904 w 630420"/>
              <a:gd name="connsiteY2" fmla="*/ 6943 h 316698"/>
              <a:gd name="connsiteX3" fmla="*/ 154195 w 630420"/>
              <a:gd name="connsiteY3" fmla="*/ 16461 h 316698"/>
              <a:gd name="connsiteX4" fmla="*/ 222289 w 630420"/>
              <a:gd name="connsiteY4" fmla="*/ 31599 h 316698"/>
              <a:gd name="connsiteX5" fmla="*/ 298331 w 630420"/>
              <a:gd name="connsiteY5" fmla="*/ 52817 h 316698"/>
              <a:gd name="connsiteX6" fmla="*/ 348670 w 630420"/>
              <a:gd name="connsiteY6" fmla="*/ 74398 h 316698"/>
              <a:gd name="connsiteX7" fmla="*/ 400743 w 630420"/>
              <a:gd name="connsiteY7" fmla="*/ 98049 h 316698"/>
              <a:gd name="connsiteX8" fmla="*/ 451718 w 630420"/>
              <a:gd name="connsiteY8" fmla="*/ 127094 h 316698"/>
              <a:gd name="connsiteX9" fmla="*/ 508885 w 630420"/>
              <a:gd name="connsiteY9" fmla="*/ 162013 h 316698"/>
              <a:gd name="connsiteX10" fmla="*/ 543510 w 630420"/>
              <a:gd name="connsiteY10" fmla="*/ 186458 h 316698"/>
              <a:gd name="connsiteX11" fmla="*/ 583852 w 630420"/>
              <a:gd name="connsiteY11" fmla="*/ 220110 h 316698"/>
              <a:gd name="connsiteX12" fmla="*/ 630420 w 630420"/>
              <a:gd name="connsiteY12" fmla="*/ 263686 h 316698"/>
              <a:gd name="connsiteX13" fmla="*/ 550513 w 630420"/>
              <a:gd name="connsiteY13" fmla="*/ 316698 h 316698"/>
              <a:gd name="connsiteX14" fmla="*/ 506352 w 630420"/>
              <a:gd name="connsiteY14" fmla="*/ 273289 h 316698"/>
              <a:gd name="connsiteX15" fmla="*/ 450710 w 630420"/>
              <a:gd name="connsiteY15" fmla="*/ 235589 h 316698"/>
              <a:gd name="connsiteX16" fmla="*/ 383046 w 630420"/>
              <a:gd name="connsiteY16" fmla="*/ 196528 h 316698"/>
              <a:gd name="connsiteX17" fmla="*/ 330658 w 630420"/>
              <a:gd name="connsiteY17" fmla="*/ 170334 h 316698"/>
              <a:gd name="connsiteX18" fmla="*/ 260175 w 630420"/>
              <a:gd name="connsiteY18" fmla="*/ 143821 h 316698"/>
              <a:gd name="connsiteX19" fmla="*/ 207026 w 630420"/>
              <a:gd name="connsiteY19" fmla="*/ 120646 h 316698"/>
              <a:gd name="connsiteX20" fmla="*/ 137798 w 630420"/>
              <a:gd name="connsiteY20" fmla="*/ 110493 h 316698"/>
              <a:gd name="connsiteX21" fmla="*/ 73325 w 630420"/>
              <a:gd name="connsiteY21" fmla="*/ 99542 h 316698"/>
              <a:gd name="connsiteX22" fmla="*/ 540 w 630420"/>
              <a:gd name="connsiteY22" fmla="*/ 97824 h 316698"/>
              <a:gd name="connsiteX23" fmla="*/ 0 w 630420"/>
              <a:gd name="connsiteY23" fmla="*/ 0 h 316698"/>
              <a:gd name="connsiteX0" fmla="*/ 0 w 615136"/>
              <a:gd name="connsiteY0" fmla="*/ 0 h 316698"/>
              <a:gd name="connsiteX1" fmla="*/ 63998 w 615136"/>
              <a:gd name="connsiteY1" fmla="*/ 2353 h 316698"/>
              <a:gd name="connsiteX2" fmla="*/ 112904 w 615136"/>
              <a:gd name="connsiteY2" fmla="*/ 694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48402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1315"/>
              <a:gd name="connsiteY0" fmla="*/ 0 h 316698"/>
              <a:gd name="connsiteX1" fmla="*/ 63998 w 611315"/>
              <a:gd name="connsiteY1" fmla="*/ 2353 h 316698"/>
              <a:gd name="connsiteX2" fmla="*/ 112904 w 611315"/>
              <a:gd name="connsiteY2" fmla="*/ 6943 h 316698"/>
              <a:gd name="connsiteX3" fmla="*/ 154195 w 611315"/>
              <a:gd name="connsiteY3" fmla="*/ 16461 h 316698"/>
              <a:gd name="connsiteX4" fmla="*/ 222289 w 611315"/>
              <a:gd name="connsiteY4" fmla="*/ 31599 h 316698"/>
              <a:gd name="connsiteX5" fmla="*/ 298331 w 611315"/>
              <a:gd name="connsiteY5" fmla="*/ 52817 h 316698"/>
              <a:gd name="connsiteX6" fmla="*/ 348670 w 611315"/>
              <a:gd name="connsiteY6" fmla="*/ 74398 h 316698"/>
              <a:gd name="connsiteX7" fmla="*/ 400743 w 611315"/>
              <a:gd name="connsiteY7" fmla="*/ 98049 h 316698"/>
              <a:gd name="connsiteX8" fmla="*/ 451718 w 611315"/>
              <a:gd name="connsiteY8" fmla="*/ 127094 h 316698"/>
              <a:gd name="connsiteX9" fmla="*/ 508885 w 611315"/>
              <a:gd name="connsiteY9" fmla="*/ 162013 h 316698"/>
              <a:gd name="connsiteX10" fmla="*/ 543510 w 611315"/>
              <a:gd name="connsiteY10" fmla="*/ 186458 h 316698"/>
              <a:gd name="connsiteX11" fmla="*/ 583852 w 611315"/>
              <a:gd name="connsiteY11" fmla="*/ 220110 h 316698"/>
              <a:gd name="connsiteX12" fmla="*/ 611315 w 611315"/>
              <a:gd name="connsiteY12" fmla="*/ 244582 h 316698"/>
              <a:gd name="connsiteX13" fmla="*/ 550513 w 611315"/>
              <a:gd name="connsiteY13" fmla="*/ 316698 h 316698"/>
              <a:gd name="connsiteX14" fmla="*/ 506352 w 611315"/>
              <a:gd name="connsiteY14" fmla="*/ 273289 h 316698"/>
              <a:gd name="connsiteX15" fmla="*/ 450710 w 611315"/>
              <a:gd name="connsiteY15" fmla="*/ 235589 h 316698"/>
              <a:gd name="connsiteX16" fmla="*/ 383046 w 611315"/>
              <a:gd name="connsiteY16" fmla="*/ 196528 h 316698"/>
              <a:gd name="connsiteX17" fmla="*/ 330658 w 611315"/>
              <a:gd name="connsiteY17" fmla="*/ 170334 h 316698"/>
              <a:gd name="connsiteX18" fmla="*/ 260175 w 611315"/>
              <a:gd name="connsiteY18" fmla="*/ 143821 h 316698"/>
              <a:gd name="connsiteX19" fmla="*/ 207026 w 611315"/>
              <a:gd name="connsiteY19" fmla="*/ 120646 h 316698"/>
              <a:gd name="connsiteX20" fmla="*/ 137798 w 611315"/>
              <a:gd name="connsiteY20" fmla="*/ 110493 h 316698"/>
              <a:gd name="connsiteX21" fmla="*/ 73325 w 611315"/>
              <a:gd name="connsiteY21" fmla="*/ 99542 h 316698"/>
              <a:gd name="connsiteX22" fmla="*/ 540 w 611315"/>
              <a:gd name="connsiteY22" fmla="*/ 97824 h 316698"/>
              <a:gd name="connsiteX23" fmla="*/ 0 w 611315"/>
              <a:gd name="connsiteY23" fmla="*/ 0 h 316698"/>
              <a:gd name="connsiteX0" fmla="*/ 0 w 615136"/>
              <a:gd name="connsiteY0" fmla="*/ 0 h 316698"/>
              <a:gd name="connsiteX1" fmla="*/ 63998 w 615136"/>
              <a:gd name="connsiteY1" fmla="*/ 2353 h 316698"/>
              <a:gd name="connsiteX2" fmla="*/ 112904 w 615136"/>
              <a:gd name="connsiteY2" fmla="*/ 694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50313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5136"/>
              <a:gd name="connsiteY0" fmla="*/ 0 h 316698"/>
              <a:gd name="connsiteX1" fmla="*/ 63998 w 615136"/>
              <a:gd name="connsiteY1" fmla="*/ 2353 h 316698"/>
              <a:gd name="connsiteX2" fmla="*/ 110993 w 615136"/>
              <a:gd name="connsiteY2" fmla="*/ 885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50313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5136"/>
              <a:gd name="connsiteY0" fmla="*/ 0 h 316698"/>
              <a:gd name="connsiteX1" fmla="*/ 58266 w 615136"/>
              <a:gd name="connsiteY1" fmla="*/ 4263 h 316698"/>
              <a:gd name="connsiteX2" fmla="*/ 110993 w 615136"/>
              <a:gd name="connsiteY2" fmla="*/ 8853 h 316698"/>
              <a:gd name="connsiteX3" fmla="*/ 154195 w 615136"/>
              <a:gd name="connsiteY3" fmla="*/ 16461 h 316698"/>
              <a:gd name="connsiteX4" fmla="*/ 222289 w 615136"/>
              <a:gd name="connsiteY4" fmla="*/ 31599 h 316698"/>
              <a:gd name="connsiteX5" fmla="*/ 298331 w 615136"/>
              <a:gd name="connsiteY5" fmla="*/ 52817 h 316698"/>
              <a:gd name="connsiteX6" fmla="*/ 348670 w 615136"/>
              <a:gd name="connsiteY6" fmla="*/ 74398 h 316698"/>
              <a:gd name="connsiteX7" fmla="*/ 400743 w 615136"/>
              <a:gd name="connsiteY7" fmla="*/ 98049 h 316698"/>
              <a:gd name="connsiteX8" fmla="*/ 451718 w 615136"/>
              <a:gd name="connsiteY8" fmla="*/ 127094 h 316698"/>
              <a:gd name="connsiteX9" fmla="*/ 508885 w 615136"/>
              <a:gd name="connsiteY9" fmla="*/ 162013 h 316698"/>
              <a:gd name="connsiteX10" fmla="*/ 543510 w 615136"/>
              <a:gd name="connsiteY10" fmla="*/ 186458 h 316698"/>
              <a:gd name="connsiteX11" fmla="*/ 583852 w 615136"/>
              <a:gd name="connsiteY11" fmla="*/ 220110 h 316698"/>
              <a:gd name="connsiteX12" fmla="*/ 615136 w 615136"/>
              <a:gd name="connsiteY12" fmla="*/ 250313 h 316698"/>
              <a:gd name="connsiteX13" fmla="*/ 550513 w 615136"/>
              <a:gd name="connsiteY13" fmla="*/ 316698 h 316698"/>
              <a:gd name="connsiteX14" fmla="*/ 506352 w 615136"/>
              <a:gd name="connsiteY14" fmla="*/ 273289 h 316698"/>
              <a:gd name="connsiteX15" fmla="*/ 450710 w 615136"/>
              <a:gd name="connsiteY15" fmla="*/ 235589 h 316698"/>
              <a:gd name="connsiteX16" fmla="*/ 383046 w 615136"/>
              <a:gd name="connsiteY16" fmla="*/ 196528 h 316698"/>
              <a:gd name="connsiteX17" fmla="*/ 330658 w 615136"/>
              <a:gd name="connsiteY17" fmla="*/ 170334 h 316698"/>
              <a:gd name="connsiteX18" fmla="*/ 260175 w 615136"/>
              <a:gd name="connsiteY18" fmla="*/ 143821 h 316698"/>
              <a:gd name="connsiteX19" fmla="*/ 207026 w 615136"/>
              <a:gd name="connsiteY19" fmla="*/ 120646 h 316698"/>
              <a:gd name="connsiteX20" fmla="*/ 137798 w 615136"/>
              <a:gd name="connsiteY20" fmla="*/ 110493 h 316698"/>
              <a:gd name="connsiteX21" fmla="*/ 73325 w 615136"/>
              <a:gd name="connsiteY21" fmla="*/ 99542 h 316698"/>
              <a:gd name="connsiteX22" fmla="*/ 540 w 615136"/>
              <a:gd name="connsiteY22" fmla="*/ 97824 h 316698"/>
              <a:gd name="connsiteX23" fmla="*/ 0 w 615136"/>
              <a:gd name="connsiteY23" fmla="*/ 0 h 316698"/>
              <a:gd name="connsiteX0" fmla="*/ 0 w 615136"/>
              <a:gd name="connsiteY0" fmla="*/ 1469 h 312435"/>
              <a:gd name="connsiteX1" fmla="*/ 58266 w 615136"/>
              <a:gd name="connsiteY1" fmla="*/ 0 h 312435"/>
              <a:gd name="connsiteX2" fmla="*/ 110993 w 615136"/>
              <a:gd name="connsiteY2" fmla="*/ 4590 h 312435"/>
              <a:gd name="connsiteX3" fmla="*/ 154195 w 615136"/>
              <a:gd name="connsiteY3" fmla="*/ 12198 h 312435"/>
              <a:gd name="connsiteX4" fmla="*/ 222289 w 615136"/>
              <a:gd name="connsiteY4" fmla="*/ 27336 h 312435"/>
              <a:gd name="connsiteX5" fmla="*/ 298331 w 615136"/>
              <a:gd name="connsiteY5" fmla="*/ 48554 h 312435"/>
              <a:gd name="connsiteX6" fmla="*/ 348670 w 615136"/>
              <a:gd name="connsiteY6" fmla="*/ 70135 h 312435"/>
              <a:gd name="connsiteX7" fmla="*/ 400743 w 615136"/>
              <a:gd name="connsiteY7" fmla="*/ 93786 h 312435"/>
              <a:gd name="connsiteX8" fmla="*/ 451718 w 615136"/>
              <a:gd name="connsiteY8" fmla="*/ 122831 h 312435"/>
              <a:gd name="connsiteX9" fmla="*/ 508885 w 615136"/>
              <a:gd name="connsiteY9" fmla="*/ 157750 h 312435"/>
              <a:gd name="connsiteX10" fmla="*/ 543510 w 615136"/>
              <a:gd name="connsiteY10" fmla="*/ 182195 h 312435"/>
              <a:gd name="connsiteX11" fmla="*/ 583852 w 615136"/>
              <a:gd name="connsiteY11" fmla="*/ 215847 h 312435"/>
              <a:gd name="connsiteX12" fmla="*/ 615136 w 615136"/>
              <a:gd name="connsiteY12" fmla="*/ 246050 h 312435"/>
              <a:gd name="connsiteX13" fmla="*/ 550513 w 615136"/>
              <a:gd name="connsiteY13" fmla="*/ 312435 h 312435"/>
              <a:gd name="connsiteX14" fmla="*/ 506352 w 615136"/>
              <a:gd name="connsiteY14" fmla="*/ 269026 h 312435"/>
              <a:gd name="connsiteX15" fmla="*/ 450710 w 615136"/>
              <a:gd name="connsiteY15" fmla="*/ 231326 h 312435"/>
              <a:gd name="connsiteX16" fmla="*/ 383046 w 615136"/>
              <a:gd name="connsiteY16" fmla="*/ 192265 h 312435"/>
              <a:gd name="connsiteX17" fmla="*/ 330658 w 615136"/>
              <a:gd name="connsiteY17" fmla="*/ 166071 h 312435"/>
              <a:gd name="connsiteX18" fmla="*/ 260175 w 615136"/>
              <a:gd name="connsiteY18" fmla="*/ 139558 h 312435"/>
              <a:gd name="connsiteX19" fmla="*/ 207026 w 615136"/>
              <a:gd name="connsiteY19" fmla="*/ 116383 h 312435"/>
              <a:gd name="connsiteX20" fmla="*/ 137798 w 615136"/>
              <a:gd name="connsiteY20" fmla="*/ 106230 h 312435"/>
              <a:gd name="connsiteX21" fmla="*/ 73325 w 615136"/>
              <a:gd name="connsiteY21" fmla="*/ 95279 h 312435"/>
              <a:gd name="connsiteX22" fmla="*/ 540 w 615136"/>
              <a:gd name="connsiteY22" fmla="*/ 93561 h 312435"/>
              <a:gd name="connsiteX23" fmla="*/ 0 w 615136"/>
              <a:gd name="connsiteY23" fmla="*/ 1469 h 312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15136" h="312435">
                <a:moveTo>
                  <a:pt x="0" y="1469"/>
                </a:moveTo>
                <a:lnTo>
                  <a:pt x="58266" y="0"/>
                </a:lnTo>
                <a:lnTo>
                  <a:pt x="110993" y="4590"/>
                </a:lnTo>
                <a:lnTo>
                  <a:pt x="154195" y="12198"/>
                </a:lnTo>
                <a:lnTo>
                  <a:pt x="222289" y="27336"/>
                </a:lnTo>
                <a:lnTo>
                  <a:pt x="298331" y="48554"/>
                </a:lnTo>
                <a:lnTo>
                  <a:pt x="348670" y="70135"/>
                </a:lnTo>
                <a:lnTo>
                  <a:pt x="400743" y="93786"/>
                </a:lnTo>
                <a:lnTo>
                  <a:pt x="451718" y="122831"/>
                </a:lnTo>
                <a:lnTo>
                  <a:pt x="508885" y="157750"/>
                </a:lnTo>
                <a:lnTo>
                  <a:pt x="543510" y="182195"/>
                </a:lnTo>
                <a:lnTo>
                  <a:pt x="583852" y="215847"/>
                </a:lnTo>
                <a:lnTo>
                  <a:pt x="615136" y="246050"/>
                </a:lnTo>
                <a:lnTo>
                  <a:pt x="550513" y="312435"/>
                </a:lnTo>
                <a:lnTo>
                  <a:pt x="506352" y="269026"/>
                </a:lnTo>
                <a:lnTo>
                  <a:pt x="450710" y="231326"/>
                </a:lnTo>
                <a:cubicBezTo>
                  <a:pt x="429279" y="216642"/>
                  <a:pt x="403055" y="203141"/>
                  <a:pt x="383046" y="192265"/>
                </a:cubicBezTo>
                <a:cubicBezTo>
                  <a:pt x="363037" y="181389"/>
                  <a:pt x="350899" y="174008"/>
                  <a:pt x="330658" y="166071"/>
                </a:cubicBezTo>
                <a:cubicBezTo>
                  <a:pt x="307639" y="158927"/>
                  <a:pt x="283194" y="146702"/>
                  <a:pt x="260175" y="139558"/>
                </a:cubicBezTo>
                <a:lnTo>
                  <a:pt x="207026" y="116383"/>
                </a:lnTo>
                <a:lnTo>
                  <a:pt x="137798" y="106230"/>
                </a:lnTo>
                <a:lnTo>
                  <a:pt x="73325" y="95279"/>
                </a:lnTo>
                <a:lnTo>
                  <a:pt x="540" y="93561"/>
                </a:lnTo>
                <a:cubicBezTo>
                  <a:pt x="-1047" y="-38769"/>
                  <a:pt x="1587" y="133799"/>
                  <a:pt x="0" y="1469"/>
                </a:cubicBezTo>
                <a:close/>
              </a:path>
            </a:pathLst>
          </a:cu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963100" y="1328175"/>
            <a:ext cx="787228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жведомственной рабочей группы по внесению изменений в нормативные правовые акты и документы по стандартизации для исключения из них положений препятствующих применению неметаллических труб (полимерных, стеклопластиковых, полимерно-армированных) в нефтегазовой отрасли, и разработке новых нормативных правовых актов и документов по стандартизации, утвержденной приказом Минэнерго России и </a:t>
            </a:r>
            <a:r>
              <a:rPr lang="ru-RU" sz="14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промторга</a:t>
            </a:r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России № 69/478 от 15 февраля 2021 г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963100" y="5030143"/>
            <a:ext cx="78722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251852" y="2912495"/>
            <a:ext cx="753084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бочей группы по вопросам нормативно-правового обеспечения учета добываемого, хранимого и транспортируемого углеводородного сырья, производимых, хранимых и реализуемых продуктов его переработки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304532" y="4007040"/>
            <a:ext cx="75308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бочей группы по вопросам технического регулирования деятельности организаций нефтегазового комплекса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16</a:t>
            </a:fld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983431" y="722812"/>
            <a:ext cx="33211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бочие</a:t>
            </a:r>
            <a:r>
              <a:rPr lang="ru-RU" sz="28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 группы</a:t>
            </a:r>
          </a:p>
        </p:txBody>
      </p:sp>
      <p:sp>
        <p:nvSpPr>
          <p:cNvPr id="10" name="Овал 9"/>
          <p:cNvSpPr/>
          <p:nvPr/>
        </p:nvSpPr>
        <p:spPr>
          <a:xfrm>
            <a:off x="464815" y="2713170"/>
            <a:ext cx="2098247" cy="2098248"/>
          </a:xfrm>
          <a:prstGeom prst="ellipse">
            <a:avLst/>
          </a:prstGeom>
          <a:solidFill>
            <a:schemeClr val="bg1"/>
          </a:solidFill>
          <a:ln w="3810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44789" y="3500684"/>
            <a:ext cx="21326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Институт входит</a:t>
            </a:r>
            <a:b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в состав:</a:t>
            </a:r>
          </a:p>
        </p:txBody>
      </p:sp>
      <p:sp>
        <p:nvSpPr>
          <p:cNvPr id="40" name="Прямоугольник 39"/>
          <p:cNvSpPr/>
          <p:nvPr/>
        </p:nvSpPr>
        <p:spPr>
          <a:xfrm rot="18968870">
            <a:off x="1904578" y="2390568"/>
            <a:ext cx="849787" cy="112184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2602893" y="2106973"/>
            <a:ext cx="505496" cy="112184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 rot="2631130" flipV="1">
            <a:off x="1911915" y="5024641"/>
            <a:ext cx="849787" cy="112184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 flipV="1">
            <a:off x="2610442" y="5305746"/>
            <a:ext cx="497947" cy="112184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 rot="20709571">
            <a:off x="2580751" y="3243148"/>
            <a:ext cx="443068" cy="112184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3008960" y="3186640"/>
            <a:ext cx="505496" cy="112184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/>
        </p:nvSpPr>
        <p:spPr>
          <a:xfrm rot="890429" flipV="1">
            <a:off x="2583554" y="4156883"/>
            <a:ext cx="443068" cy="112184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 flipV="1">
            <a:off x="3011763" y="4212558"/>
            <a:ext cx="505496" cy="112184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Овал 48"/>
          <p:cNvSpPr/>
          <p:nvPr/>
        </p:nvSpPr>
        <p:spPr>
          <a:xfrm>
            <a:off x="3122611" y="1857871"/>
            <a:ext cx="605192" cy="605192"/>
          </a:xfrm>
          <a:prstGeom prst="ellipse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1</a:t>
            </a:r>
          </a:p>
        </p:txBody>
      </p:sp>
      <p:sp>
        <p:nvSpPr>
          <p:cNvPr id="50" name="Овал 49"/>
          <p:cNvSpPr/>
          <p:nvPr/>
        </p:nvSpPr>
        <p:spPr>
          <a:xfrm>
            <a:off x="3514456" y="2940136"/>
            <a:ext cx="605192" cy="605192"/>
          </a:xfrm>
          <a:prstGeom prst="ellipse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2</a:t>
            </a:r>
          </a:p>
        </p:txBody>
      </p:sp>
      <p:sp>
        <p:nvSpPr>
          <p:cNvPr id="51" name="Овал 50"/>
          <p:cNvSpPr/>
          <p:nvPr/>
        </p:nvSpPr>
        <p:spPr>
          <a:xfrm>
            <a:off x="3514456" y="3954227"/>
            <a:ext cx="605192" cy="605192"/>
          </a:xfrm>
          <a:prstGeom prst="ellipse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3</a:t>
            </a:r>
          </a:p>
        </p:txBody>
      </p:sp>
      <p:sp>
        <p:nvSpPr>
          <p:cNvPr id="52" name="Овал 51"/>
          <p:cNvSpPr/>
          <p:nvPr/>
        </p:nvSpPr>
        <p:spPr>
          <a:xfrm>
            <a:off x="3122611" y="5059242"/>
            <a:ext cx="605192" cy="605192"/>
          </a:xfrm>
          <a:prstGeom prst="ellipse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4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963099" y="5110797"/>
            <a:ext cx="781960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кции №6 «Безопасность объектов нефтегазового комплекса» и секции №7 «Совершенствование государственного энергетического надзора» Научно-технического совета Федеральной службы по экологическому, технологическому и атомному надзору (</a:t>
            </a:r>
            <a:r>
              <a:rPr lang="ru-RU" sz="14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остехнадзор</a:t>
            </a:r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1077813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рямоугольник 39"/>
          <p:cNvSpPr/>
          <p:nvPr/>
        </p:nvSpPr>
        <p:spPr>
          <a:xfrm>
            <a:off x="9154087" y="1255400"/>
            <a:ext cx="2760877" cy="5314098"/>
          </a:xfrm>
          <a:prstGeom prst="rect">
            <a:avLst/>
          </a:prstGeom>
          <a:solidFill>
            <a:schemeClr val="bg1"/>
          </a:solidFill>
          <a:ln w="3810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Номер слайда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17</a:t>
            </a:fld>
            <a:endParaRPr lang="ru-RU"/>
          </a:p>
        </p:txBody>
      </p:sp>
      <p:sp>
        <p:nvSpPr>
          <p:cNvPr id="47" name="Прямоугольник 46"/>
          <p:cNvSpPr/>
          <p:nvPr/>
        </p:nvSpPr>
        <p:spPr>
          <a:xfrm>
            <a:off x="932982" y="1297096"/>
            <a:ext cx="272792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чество наших услуг подтверждается успешно пройденными аккредитациями и сертификациями</a:t>
            </a:r>
          </a:p>
        </p:txBody>
      </p:sp>
      <p:sp>
        <p:nvSpPr>
          <p:cNvPr id="3" name="Прямоугольник 2"/>
          <p:cNvSpPr/>
          <p:nvPr/>
        </p:nvSpPr>
        <p:spPr>
          <a:xfrm rot="18906714">
            <a:off x="1028334" y="3936355"/>
            <a:ext cx="2357846" cy="2357847"/>
          </a:xfrm>
          <a:prstGeom prst="rect">
            <a:avLst/>
          </a:prstGeom>
          <a:solidFill>
            <a:srgbClr val="225A9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478978" y="2961746"/>
            <a:ext cx="1761008" cy="1702232"/>
          </a:xfrm>
          <a:prstGeom prst="line">
            <a:avLst/>
          </a:prstGeom>
          <a:ln w="381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 flipH="1" flipV="1">
            <a:off x="2252750" y="2967643"/>
            <a:ext cx="2183609" cy="2156996"/>
          </a:xfrm>
          <a:prstGeom prst="line">
            <a:avLst/>
          </a:prstGeom>
          <a:ln w="381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 flipH="1" flipV="1">
            <a:off x="475052" y="5698703"/>
            <a:ext cx="1164223" cy="1152985"/>
          </a:xfrm>
          <a:prstGeom prst="line">
            <a:avLst/>
          </a:prstGeom>
          <a:ln w="381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Прямоугольник 77"/>
          <p:cNvSpPr/>
          <p:nvPr/>
        </p:nvSpPr>
        <p:spPr>
          <a:xfrm>
            <a:off x="458483" y="4644042"/>
            <a:ext cx="40989" cy="40989"/>
          </a:xfrm>
          <a:prstGeom prst="rect">
            <a:avLst/>
          </a:prstGeom>
          <a:solidFill>
            <a:srgbClr val="225A9C"/>
          </a:solidFill>
          <a:ln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Прямоугольник 78"/>
          <p:cNvSpPr/>
          <p:nvPr/>
        </p:nvSpPr>
        <p:spPr>
          <a:xfrm>
            <a:off x="464455" y="5677649"/>
            <a:ext cx="40989" cy="40989"/>
          </a:xfrm>
          <a:prstGeom prst="rect">
            <a:avLst/>
          </a:prstGeom>
          <a:solidFill>
            <a:srgbClr val="225A9C"/>
          </a:solidFill>
          <a:ln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Прямоугольник 79"/>
          <p:cNvSpPr/>
          <p:nvPr/>
        </p:nvSpPr>
        <p:spPr>
          <a:xfrm>
            <a:off x="1612230" y="6813834"/>
            <a:ext cx="40989" cy="40989"/>
          </a:xfrm>
          <a:prstGeom prst="rect">
            <a:avLst/>
          </a:prstGeom>
          <a:solidFill>
            <a:srgbClr val="225A9C"/>
          </a:solidFill>
          <a:ln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 flipV="1">
            <a:off x="2685046" y="5113561"/>
            <a:ext cx="1739803" cy="1738127"/>
          </a:xfrm>
          <a:prstGeom prst="line">
            <a:avLst/>
          </a:prstGeom>
          <a:ln w="381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Прямоугольник 81"/>
          <p:cNvSpPr/>
          <p:nvPr/>
        </p:nvSpPr>
        <p:spPr>
          <a:xfrm>
            <a:off x="2671101" y="6816631"/>
            <a:ext cx="40989" cy="40989"/>
          </a:xfrm>
          <a:prstGeom prst="rect">
            <a:avLst/>
          </a:prstGeom>
          <a:solidFill>
            <a:srgbClr val="225A9C"/>
          </a:solidFill>
          <a:ln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2" name="Прямоугольник 101"/>
          <p:cNvSpPr/>
          <p:nvPr/>
        </p:nvSpPr>
        <p:spPr>
          <a:xfrm>
            <a:off x="4181203" y="4866500"/>
            <a:ext cx="483026" cy="483026"/>
          </a:xfrm>
          <a:prstGeom prst="rect">
            <a:avLst/>
          </a:prstGeom>
          <a:solidFill>
            <a:srgbClr val="225A9C"/>
          </a:solidFill>
          <a:ln w="381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25</a:t>
            </a:r>
            <a:endParaRPr lang="ru-RU" sz="3600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556680" y="4035277"/>
            <a:ext cx="326301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Список </a:t>
            </a:r>
            <a:br>
              <a:rPr lang="en-US" sz="2000" b="1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lang="ru-RU" sz="2000" b="1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заключенных</a:t>
            </a:r>
            <a:br>
              <a:rPr lang="en-US" sz="2000" b="1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</a:br>
            <a:r>
              <a:rPr lang="ru-RU" sz="2000" b="1" dirty="0">
                <a:solidFill>
                  <a:schemeClr val="bg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соглашений</a:t>
            </a:r>
          </a:p>
        </p:txBody>
      </p:sp>
      <p:sp>
        <p:nvSpPr>
          <p:cNvPr id="108" name="Прямоугольник 107"/>
          <p:cNvSpPr/>
          <p:nvPr/>
        </p:nvSpPr>
        <p:spPr>
          <a:xfrm>
            <a:off x="1252468" y="5241031"/>
            <a:ext cx="190864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рамках взаимодействия с федеральными органами исполнительной власти Российской Федерации и</a:t>
            </a:r>
            <a:br>
              <a:rPr lang="en-US" sz="1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 профильными компаниями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2404919" y="2758821"/>
            <a:ext cx="60702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глашений в рамках сотрудничества в проведении исследовательских работ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4589416" y="4917508"/>
            <a:ext cx="413300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глашений с целью повышения эффективности подготовки специалистов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3881798" y="4057168"/>
            <a:ext cx="484062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глашения о сотрудничестве в области инжиниринга, проектирования и строительства трубопроводов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3222017" y="6449179"/>
            <a:ext cx="72458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глашений о научно-техническом сотрудничестве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3898566" y="5708116"/>
            <a:ext cx="482385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глашений о сотрудничестве по совместной маркетинговой деятельности в сфере развития внедрения программы энергоснабжения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3131941" y="3321160"/>
            <a:ext cx="54551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глашения о сотрудничестве для обеспечения надежности эксплуатации и стабильности работы трубопроводов в нефтяной промышленности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983431" y="722812"/>
            <a:ext cx="929632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зрешительная </a:t>
            </a:r>
            <a:r>
              <a:rPr lang="ru-RU" sz="2800" b="1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документация и соглашения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9379656" y="5959667"/>
            <a:ext cx="25353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ектирование объектов </a:t>
            </a:r>
            <a:r>
              <a:rPr lang="ru-RU" sz="1200" dirty="0" err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ефтегазодобычи</a:t>
            </a:r>
            <a:endParaRPr lang="ru-RU" sz="1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9264353" y="1360054"/>
            <a:ext cx="2562038" cy="1338334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ши сотрудники аттестованы по промышленной безопасности по следующим областям: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9341789" y="3823653"/>
            <a:ext cx="256038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ектирование, строительство, реконструкция, техническое перевооружение и капитальный ремонт сетей газораспределения и </a:t>
            </a:r>
            <a:r>
              <a:rPr lang="ru-RU" sz="1200" dirty="0" err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азопотребления</a:t>
            </a:r>
            <a:endParaRPr lang="ru-RU" sz="1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367118" y="2823246"/>
            <a:ext cx="254351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гистральные газопровод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9367118" y="3232188"/>
            <a:ext cx="25435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гистральные нефтепроводы  и нефтепродуктопроводы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9372234" y="5157045"/>
            <a:ext cx="25383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ефтепромысловые трубопроводы для транспорта нефти и газа</a:t>
            </a: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9264353" y="3152462"/>
            <a:ext cx="2646276" cy="0"/>
          </a:xfrm>
          <a:prstGeom prst="line">
            <a:avLst/>
          </a:prstGeom>
          <a:ln w="1905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9251244" y="3752047"/>
            <a:ext cx="2646276" cy="0"/>
          </a:xfrm>
          <a:prstGeom prst="line">
            <a:avLst/>
          </a:prstGeom>
          <a:ln w="1905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9251244" y="5113561"/>
            <a:ext cx="2646276" cy="0"/>
          </a:xfrm>
          <a:prstGeom prst="line">
            <a:avLst/>
          </a:prstGeom>
          <a:ln w="1905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9259966" y="5877272"/>
            <a:ext cx="2646276" cy="0"/>
          </a:xfrm>
          <a:prstGeom prst="line">
            <a:avLst/>
          </a:prstGeom>
          <a:ln w="1905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>
          <a:xfrm>
            <a:off x="3479299" y="5561375"/>
            <a:ext cx="483026" cy="483026"/>
          </a:xfrm>
          <a:prstGeom prst="rect">
            <a:avLst/>
          </a:prstGeom>
          <a:solidFill>
            <a:srgbClr val="225A9C"/>
          </a:solidFill>
          <a:ln w="381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10</a:t>
            </a:r>
            <a:endParaRPr lang="ru-RU" sz="3600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766409" y="6280445"/>
            <a:ext cx="483026" cy="483026"/>
          </a:xfrm>
          <a:prstGeom prst="rect">
            <a:avLst/>
          </a:prstGeom>
          <a:solidFill>
            <a:srgbClr val="225A9C"/>
          </a:solidFill>
          <a:ln w="381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9</a:t>
            </a:r>
            <a:endParaRPr lang="ru-RU" sz="4000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3402578" y="4096189"/>
            <a:ext cx="483026" cy="483026"/>
          </a:xfrm>
          <a:prstGeom prst="rect">
            <a:avLst/>
          </a:prstGeom>
          <a:solidFill>
            <a:srgbClr val="225A9C"/>
          </a:solidFill>
          <a:ln w="381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3</a:t>
            </a:r>
            <a:endParaRPr lang="ru-RU" sz="4000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2690455" y="3392378"/>
            <a:ext cx="483026" cy="483026"/>
          </a:xfrm>
          <a:prstGeom prst="rect">
            <a:avLst/>
          </a:prstGeom>
          <a:solidFill>
            <a:srgbClr val="225A9C"/>
          </a:solidFill>
          <a:ln w="381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2</a:t>
            </a:r>
            <a:endParaRPr lang="ru-RU" sz="4000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988239" y="2709162"/>
            <a:ext cx="483026" cy="483026"/>
          </a:xfrm>
          <a:prstGeom prst="rect">
            <a:avLst/>
          </a:prstGeom>
          <a:solidFill>
            <a:srgbClr val="225A9C"/>
          </a:solidFill>
          <a:ln w="381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7</a:t>
            </a:r>
            <a:endParaRPr lang="ru-RU" sz="4000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3379" y="1260000"/>
            <a:ext cx="1016741" cy="144000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0000" y="1260000"/>
            <a:ext cx="1038709" cy="144000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36667" y="1259565"/>
            <a:ext cx="1017375" cy="144000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32000" y="1260000"/>
            <a:ext cx="1016923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1718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18</a:t>
            </a:fld>
            <a:endParaRPr lang="ru-RU"/>
          </a:p>
        </p:txBody>
      </p:sp>
      <p:pic>
        <p:nvPicPr>
          <p:cNvPr id="1032" name="Picture 8" descr="https://xn--80affkba7arb.xn--p1ai/foto/sibur_logo_ru_cs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8013" y="2442381"/>
            <a:ext cx="1996608" cy="667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www.tadviser.ru/images/2/22/%D0%A2%D0%B0%D1%82%D0%BD%D0%B5%D1%84%D1%82%D1%8C_%D0%BB%D0%BE%D0%B3%D0%B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9248" y="4275527"/>
            <a:ext cx="2296000" cy="717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2" descr="https://www.tadviser.ru/images/c/c9/%D0%A0%D0%A2-%D0%A2%D0%B5%D1%85%D0%BF%D1%80%D0%B8%D0%B5%D0%BC%D0%BA%D0%B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447" y="3450818"/>
            <a:ext cx="2422721" cy="739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4" descr="https://mig-om.ru/uploads/clientele/transneft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461" y="4464427"/>
            <a:ext cx="2362452" cy="528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6" descr="https://avatars.mds.yandex.net/get-zen_doc/2808397/pub_605b815f3bd1fd3f66d3a823_605b83f83bd1fd3f66d5ebe8/scale_1200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8458" y="2161704"/>
            <a:ext cx="1848455" cy="1229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>
            <a:clrChange>
              <a:clrFrom>
                <a:srgbClr val="EBF4FB"/>
              </a:clrFrom>
              <a:clrTo>
                <a:srgbClr val="EBF4F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41494" y="5226597"/>
            <a:ext cx="1636985" cy="1341653"/>
          </a:xfrm>
          <a:prstGeom prst="rect">
            <a:avLst/>
          </a:prstGeom>
        </p:spPr>
      </p:pic>
      <p:sp>
        <p:nvSpPr>
          <p:cNvPr id="15" name="Овал 14"/>
          <p:cNvSpPr/>
          <p:nvPr/>
        </p:nvSpPr>
        <p:spPr>
          <a:xfrm>
            <a:off x="5048394" y="2421873"/>
            <a:ext cx="2583073" cy="2583073"/>
          </a:xfrm>
          <a:prstGeom prst="ellipse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8" name="Picture 12" descr="https://i.siteapi.org/Ynf3vcbvwq7Wwv-oYSNgRIsBh3o=/fit-in/1400x1000/center/top/6ebb3413320e913.s.siteapi.org/img/422492b042aa31f3ee4e85b488944602fbae9b01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464" y="669563"/>
            <a:ext cx="960041" cy="960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4" descr="https://yt3.ggpht.com/a/AATXAJyFhz39jX1W5ffYJgr3ff9XPAT3Oj_DZvnHhe3J=s900-c-k-c0xffffffff-no-rj-mo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0169" y="762980"/>
            <a:ext cx="744116" cy="74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 descr="https://pbs.twimg.com/ext_tw_video_thumb/1361523249104977921/pu/img/G80cO1UEKfv4Nrf7.jpg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14" r="26709"/>
          <a:stretch/>
        </p:blipFill>
        <p:spPr bwMode="auto">
          <a:xfrm>
            <a:off x="5988537" y="688751"/>
            <a:ext cx="780726" cy="909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8" descr="https://telesputnik.ru/upload/iblock/906/MinstroyRF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1510" y="723953"/>
            <a:ext cx="715126" cy="71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0" descr="https://news.metrologu.ru/netcat_files/876/1264/080b63d22904e5e421ef857ddcc3eebe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0275" y="613050"/>
            <a:ext cx="941554" cy="936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5285862" y="3446692"/>
            <a:ext cx="211917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Партнер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92313" y="1511940"/>
            <a:ext cx="15743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авительство</a:t>
            </a:r>
          </a:p>
          <a:p>
            <a:pPr algn="ctr"/>
            <a:r>
              <a:rPr lang="ru-RU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России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284475" y="1541564"/>
            <a:ext cx="145732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инпромторг</a:t>
            </a:r>
            <a:endParaRPr lang="ru-RU" sz="14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algn="ctr"/>
            <a:r>
              <a:rPr lang="ru-RU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России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778479" y="1544622"/>
            <a:ext cx="12008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инэнерго</a:t>
            </a:r>
          </a:p>
          <a:p>
            <a:pPr algn="ctr"/>
            <a:r>
              <a:rPr lang="ru-RU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Росси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8277251" y="1536096"/>
            <a:ext cx="11112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Минстрой</a:t>
            </a:r>
          </a:p>
          <a:p>
            <a:pPr algn="ctr"/>
            <a:r>
              <a:rPr lang="ru-RU" sz="14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России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0384958" y="1535588"/>
            <a:ext cx="130984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 err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Росстандарт</a:t>
            </a:r>
            <a:endParaRPr lang="ru-RU" sz="1400" dirty="0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pic>
        <p:nvPicPr>
          <p:cNvPr id="1026" name="Picture 2" descr="Файл:LUK OIL Logo kyr.svg — Википедия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6320" y="3446692"/>
            <a:ext cx="2307460" cy="740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ОМК | официальный сайт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0734" y="4634276"/>
            <a:ext cx="2302654" cy="2302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47621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/>
          <p:cNvSpPr/>
          <p:nvPr/>
        </p:nvSpPr>
        <p:spPr>
          <a:xfrm>
            <a:off x="-9525" y="4929932"/>
            <a:ext cx="12201525" cy="1928068"/>
          </a:xfrm>
          <a:custGeom>
            <a:avLst/>
            <a:gdLst/>
            <a:ahLst/>
            <a:cxnLst/>
            <a:rect l="l" t="t" r="r" b="b"/>
            <a:pathLst>
              <a:path w="10685145" h="2429509">
                <a:moveTo>
                  <a:pt x="0" y="2429268"/>
                </a:moveTo>
                <a:lnTo>
                  <a:pt x="10684764" y="2429268"/>
                </a:lnTo>
                <a:lnTo>
                  <a:pt x="10684764" y="0"/>
                </a:lnTo>
                <a:lnTo>
                  <a:pt x="0" y="0"/>
                </a:lnTo>
                <a:lnTo>
                  <a:pt x="0" y="2429268"/>
                </a:lnTo>
                <a:close/>
              </a:path>
            </a:pathLst>
          </a:custGeom>
          <a:solidFill>
            <a:srgbClr val="165D9C"/>
          </a:solidFill>
        </p:spPr>
        <p:txBody>
          <a:bodyPr wrap="square" lIns="0" tIns="0" rIns="0" bIns="0" rtlCol="0"/>
          <a:lstStyle/>
          <a:p>
            <a:endParaRPr sz="1799">
              <a:solidFill>
                <a:srgbClr val="165D9C"/>
              </a:solidFill>
            </a:endParaRPr>
          </a:p>
        </p:txBody>
      </p:sp>
      <p:sp>
        <p:nvSpPr>
          <p:cNvPr id="5" name="object 4"/>
          <p:cNvSpPr/>
          <p:nvPr/>
        </p:nvSpPr>
        <p:spPr>
          <a:xfrm>
            <a:off x="10992" y="0"/>
            <a:ext cx="12181008" cy="4957019"/>
          </a:xfrm>
          <a:prstGeom prst="rect">
            <a:avLst/>
          </a:prstGeom>
          <a:blipFill>
            <a:blip r:embed="rId3" cstate="print"/>
            <a:srcRect/>
            <a:stretch>
              <a:fillRect l="-301" t="-1001" r="-391"/>
            </a:stretch>
          </a:blipFill>
          <a:ln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799"/>
          </a:p>
        </p:txBody>
      </p:sp>
      <p:sp>
        <p:nvSpPr>
          <p:cNvPr id="6" name="object 5"/>
          <p:cNvSpPr txBox="1"/>
          <p:nvPr/>
        </p:nvSpPr>
        <p:spPr>
          <a:xfrm>
            <a:off x="3215681" y="5039745"/>
            <a:ext cx="7272808" cy="18182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5" marR="5078" algn="ctr">
              <a:lnSpc>
                <a:spcPct val="102600"/>
              </a:lnSpc>
            </a:pPr>
            <a:r>
              <a:rPr sz="1600" b="1" spc="15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Вс</a:t>
            </a:r>
            <a:r>
              <a:rPr sz="1600" b="1" spc="10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есо</a:t>
            </a:r>
            <a:r>
              <a:rPr sz="1600" b="1" spc="15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юзный</a:t>
            </a:r>
            <a:r>
              <a:rPr sz="1600" b="1" spc="-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н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а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у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ч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н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о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-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сс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л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едо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в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ате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ль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ск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й</a:t>
            </a:r>
            <a:r>
              <a:rPr sz="1600" b="1" spc="-4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нс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т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т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ут</a:t>
            </a:r>
            <a:r>
              <a:rPr sz="1600" b="1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п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о</a:t>
            </a:r>
            <a:r>
              <a:rPr sz="1600" b="1" spc="-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с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т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р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о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те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ль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ству, экс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пл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у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атац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</a:t>
            </a:r>
            <a:r>
              <a:rPr sz="1600" b="1" spc="-4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т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руб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о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п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р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о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в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одо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в</a:t>
            </a:r>
            <a:r>
              <a:rPr sz="1600" b="1" spc="-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</a:t>
            </a:r>
            <a:r>
              <a:rPr sz="1600" b="1" spc="-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о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б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ъе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к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то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в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ТЭ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К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–</a:t>
            </a:r>
            <a:endParaRPr sz="16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marL="835326" marR="827074" algn="ctr">
              <a:lnSpc>
                <a:spcPct val="103499"/>
              </a:lnSpc>
            </a:pPr>
            <a:r>
              <a:rPr sz="1600" b="1" spc="2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нж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н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р</a:t>
            </a:r>
            <a:r>
              <a:rPr sz="1600" b="1" spc="2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н</a:t>
            </a:r>
            <a:r>
              <a:rPr sz="1600" b="1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гов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а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я</a:t>
            </a:r>
            <a:r>
              <a:rPr sz="1600" b="1" spc="-3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600" b="1" spc="15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н</a:t>
            </a:r>
            <a:r>
              <a:rPr sz="1600" b="1" spc="10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е</a:t>
            </a:r>
            <a:r>
              <a:rPr sz="1600" b="1" spc="20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ф</a:t>
            </a:r>
            <a:r>
              <a:rPr sz="1600" b="1" spc="5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тега</a:t>
            </a:r>
            <a:r>
              <a:rPr sz="1600" b="1" spc="10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зов</a:t>
            </a:r>
            <a:r>
              <a:rPr sz="1600" b="1" spc="5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а</a:t>
            </a:r>
            <a:r>
              <a:rPr sz="1600" b="1" spc="15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я</a:t>
            </a:r>
            <a:r>
              <a:rPr sz="1600" b="1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600" b="1" spc="15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к</a:t>
            </a:r>
            <a:r>
              <a:rPr sz="1600" b="1" spc="10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о</a:t>
            </a:r>
            <a:r>
              <a:rPr sz="1600" b="1" spc="20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мп</a:t>
            </a:r>
            <a:r>
              <a:rPr sz="1600" b="1" spc="10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а</a:t>
            </a:r>
            <a:r>
              <a:rPr sz="1600" b="1" spc="15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н</a:t>
            </a:r>
            <a:r>
              <a:rPr sz="1600" b="1" spc="20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</a:t>
            </a:r>
            <a:r>
              <a:rPr sz="1600" b="1" spc="15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я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ВН</a:t>
            </a:r>
            <a:r>
              <a:rPr sz="1600" b="1" spc="2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ИИ</a:t>
            </a:r>
            <a:r>
              <a:rPr sz="1600" b="1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СТ</a:t>
            </a:r>
            <a:endParaRPr sz="1600" b="1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>
              <a:spcBef>
                <a:spcPts val="45"/>
              </a:spcBef>
            </a:pPr>
            <a:endParaRPr sz="800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marL="635" algn="ctr"/>
            <a:r>
              <a:rPr lang="ru-RU" sz="1200" spc="2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125319, г. Москва, </a:t>
            </a:r>
            <a:r>
              <a:rPr lang="ru-RU" sz="1200" spc="25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вн</a:t>
            </a:r>
            <a:r>
              <a:rPr lang="ru-RU" sz="1200" spc="2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. тер. г. муниципальный округ Аэропорт, </a:t>
            </a:r>
          </a:p>
          <a:p>
            <a:pPr marL="635" algn="ctr"/>
            <a:r>
              <a:rPr lang="ru-RU" sz="1200" spc="2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4 - я улица 8 Марта, д. 3, стр. 1 </a:t>
            </a:r>
          </a:p>
          <a:p>
            <a:pPr algn="ctr">
              <a:spcBef>
                <a:spcPts val="35"/>
              </a:spcBef>
            </a:pPr>
            <a:r>
              <a:rPr sz="1200" spc="10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Те</a:t>
            </a:r>
            <a:r>
              <a:rPr sz="1200" spc="20" dirty="0" err="1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л</a:t>
            </a:r>
            <a:r>
              <a:rPr sz="1200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.:</a:t>
            </a:r>
            <a:r>
              <a:rPr sz="1200" spc="-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200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+</a:t>
            </a:r>
            <a:r>
              <a:rPr sz="1200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7</a:t>
            </a:r>
            <a:r>
              <a:rPr sz="120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200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(495)</a:t>
            </a:r>
            <a:r>
              <a:rPr sz="120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200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135</a:t>
            </a:r>
            <a:r>
              <a:rPr sz="1200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-</a:t>
            </a:r>
            <a:r>
              <a:rPr sz="1200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82</a:t>
            </a:r>
            <a:r>
              <a:rPr sz="1200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-</a:t>
            </a:r>
            <a:r>
              <a:rPr sz="1200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01</a:t>
            </a:r>
            <a:endParaRPr sz="1200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marL="1549415" marR="1541798" algn="ctr">
              <a:lnSpc>
                <a:spcPct val="103499"/>
              </a:lnSpc>
            </a:pPr>
            <a:r>
              <a:rPr lang="en-US" sz="1200" spc="10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E-mail: priemnaya@vniist.ru, info@vniist.ru</a:t>
            </a:r>
          </a:p>
          <a:p>
            <a:pPr marL="1549415" marR="1541798" algn="ctr">
              <a:lnSpc>
                <a:spcPct val="103499"/>
              </a:lnSpc>
            </a:pPr>
            <a:r>
              <a:rPr sz="1200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sz="1200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www.vniis</a:t>
            </a:r>
            <a:r>
              <a:rPr sz="1200" spc="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t.</a:t>
            </a:r>
            <a:r>
              <a:rPr sz="1200" spc="15" dirty="0">
                <a:solidFill>
                  <a:srgbClr val="FFFFFF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ru</a:t>
            </a:r>
            <a:endParaRPr sz="1200" dirty="0"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392" y="5445224"/>
            <a:ext cx="1028621" cy="99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2302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/>
          <p:cNvSpPr/>
          <p:nvPr/>
        </p:nvSpPr>
        <p:spPr>
          <a:xfrm>
            <a:off x="464815" y="2269162"/>
            <a:ext cx="11722100" cy="3680118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2</a:t>
            </a:fld>
            <a:endParaRPr lang="ru-RU"/>
          </a:p>
        </p:txBody>
      </p:sp>
      <p:sp>
        <p:nvSpPr>
          <p:cNvPr id="25" name="Параллелограмм 24"/>
          <p:cNvSpPr/>
          <p:nvPr/>
        </p:nvSpPr>
        <p:spPr>
          <a:xfrm>
            <a:off x="8400256" y="1442357"/>
            <a:ext cx="3786659" cy="5415643"/>
          </a:xfrm>
          <a:prstGeom prst="parallelogram">
            <a:avLst>
              <a:gd name="adj" fmla="val 56024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>
            <a:innerShdw blurRad="63500" dist="50800" dir="81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983431" y="722812"/>
            <a:ext cx="562333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аправления </a:t>
            </a:r>
            <a:r>
              <a:rPr lang="ru-RU" sz="2800" b="1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деятельности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496094" y="6828419"/>
            <a:ext cx="11657806" cy="0"/>
          </a:xfrm>
          <a:prstGeom prst="line">
            <a:avLst/>
          </a:prstGeom>
          <a:ln w="76200" cap="sq">
            <a:solidFill>
              <a:srgbClr val="225A9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1860775" y="2852936"/>
            <a:ext cx="8771729" cy="2520279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" name="Группа 8"/>
          <p:cNvGrpSpPr/>
          <p:nvPr/>
        </p:nvGrpSpPr>
        <p:grpSpPr>
          <a:xfrm>
            <a:off x="975573" y="5054230"/>
            <a:ext cx="3024336" cy="1489521"/>
            <a:chOff x="2803216" y="1630321"/>
            <a:chExt cx="3024336" cy="1376614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2803216" y="1630321"/>
              <a:ext cx="3024336" cy="137661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с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2895010" y="1708007"/>
              <a:ext cx="2852675" cy="1195581"/>
            </a:xfrm>
            <a:prstGeom prst="rect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Выполнение технико-экономического анализа эффективности проектов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975573" y="1674690"/>
            <a:ext cx="3024336" cy="1542428"/>
            <a:chOff x="2801579" y="3084621"/>
            <a:chExt cx="3024336" cy="1376614"/>
          </a:xfrm>
        </p:grpSpPr>
        <p:sp>
          <p:nvSpPr>
            <p:cNvPr id="42" name="Прямоугольник 41"/>
            <p:cNvSpPr/>
            <p:nvPr/>
          </p:nvSpPr>
          <p:spPr>
            <a:xfrm>
              <a:off x="2801579" y="3084621"/>
              <a:ext cx="3024336" cy="137661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с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2893373" y="3162307"/>
              <a:ext cx="2852675" cy="1195581"/>
            </a:xfrm>
            <a:prstGeom prst="rect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Выполнение работ по разработке и согласованию технических документов</a:t>
              </a:r>
              <a:endParaRPr lang="ru-RU" sz="14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4926182" y="1674690"/>
            <a:ext cx="3024336" cy="1542428"/>
            <a:chOff x="2801579" y="4538921"/>
            <a:chExt cx="3024336" cy="1376614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2801579" y="4538921"/>
              <a:ext cx="3024336" cy="137661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с</a:t>
              </a: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2893373" y="4616607"/>
              <a:ext cx="2852675" cy="1195581"/>
            </a:xfrm>
            <a:prstGeom prst="rect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Выполнение работ по разработке, </a:t>
              </a:r>
              <a:r>
                <a:rPr lang="ru-RU" sz="1400" dirty="0" err="1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нормоконтролю</a:t>
              </a:r>
              <a:r>
                <a:rPr lang="ru-RU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и редактированию ГОСТ, ГОСТ Р, разработке СП и специальных технических условий (СТУ)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8767766" y="1674690"/>
            <a:ext cx="3024336" cy="1542428"/>
            <a:chOff x="6429557" y="1742241"/>
            <a:chExt cx="3024336" cy="1376614"/>
          </a:xfrm>
        </p:grpSpPr>
        <p:sp>
          <p:nvSpPr>
            <p:cNvPr id="48" name="Прямоугольник 47"/>
            <p:cNvSpPr/>
            <p:nvPr/>
          </p:nvSpPr>
          <p:spPr>
            <a:xfrm>
              <a:off x="6429557" y="1742241"/>
              <a:ext cx="3024336" cy="137661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с</a:t>
              </a: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6521351" y="1819927"/>
              <a:ext cx="2852675" cy="1195581"/>
            </a:xfrm>
            <a:prstGeom prst="rect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рганизация и участие в выполнении научно-исследовательских и опытно-конструкторских работ</a:t>
              </a: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4926182" y="5054231"/>
            <a:ext cx="3024336" cy="1489520"/>
            <a:chOff x="6429557" y="3365681"/>
            <a:chExt cx="3024336" cy="1376614"/>
          </a:xfrm>
        </p:grpSpPr>
        <p:sp>
          <p:nvSpPr>
            <p:cNvPr id="50" name="Прямоугольник 49"/>
            <p:cNvSpPr/>
            <p:nvPr/>
          </p:nvSpPr>
          <p:spPr>
            <a:xfrm>
              <a:off x="6429557" y="3365681"/>
              <a:ext cx="3024336" cy="137661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с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6521351" y="3443367"/>
              <a:ext cx="2852675" cy="1195581"/>
            </a:xfrm>
            <a:prstGeom prst="rect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Консультационные услуги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8767766" y="5054230"/>
            <a:ext cx="3024336" cy="1489521"/>
            <a:chOff x="6456040" y="5336181"/>
            <a:chExt cx="3024336" cy="1376614"/>
          </a:xfrm>
        </p:grpSpPr>
        <p:sp>
          <p:nvSpPr>
            <p:cNvPr id="52" name="Прямоугольник 51"/>
            <p:cNvSpPr/>
            <p:nvPr/>
          </p:nvSpPr>
          <p:spPr>
            <a:xfrm>
              <a:off x="6456040" y="5336181"/>
              <a:ext cx="3024336" cy="137661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с</a:t>
              </a: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6547834" y="5413867"/>
              <a:ext cx="2852675" cy="1195581"/>
            </a:xfrm>
            <a:prstGeom prst="rect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Аудит заводов-изготовителей для строительства объектов ТЭК</a:t>
              </a:r>
            </a:p>
          </p:txBody>
        </p:sp>
      </p:grpSp>
      <p:sp>
        <p:nvSpPr>
          <p:cNvPr id="28" name="Прямоугольник 27"/>
          <p:cNvSpPr/>
          <p:nvPr/>
        </p:nvSpPr>
        <p:spPr>
          <a:xfrm>
            <a:off x="2351147" y="3404833"/>
            <a:ext cx="5951115" cy="1464328"/>
          </a:xfrm>
          <a:prstGeom prst="rect">
            <a:avLst/>
          </a:prstGeom>
          <a:solidFill>
            <a:schemeClr val="bg1"/>
          </a:solidFill>
          <a:ln>
            <a:solidFill>
              <a:srgbClr val="225A9C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502444" y="1412776"/>
            <a:ext cx="11657806" cy="0"/>
          </a:xfrm>
          <a:prstGeom prst="line">
            <a:avLst/>
          </a:prstGeom>
          <a:ln w="76200" cap="sq">
            <a:solidFill>
              <a:srgbClr val="225A9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2351147" y="3417599"/>
            <a:ext cx="595111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5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ЦТиНОСиЭ обладает значительным научно-техническим потенциалом и имеет в своем штате научных и инженерных работников, а также экспертов по стандартизации, обладающих соответствующим опытом, что позволяет выполнять полный комплекс работ по следующим направлениям деятельности</a:t>
            </a:r>
          </a:p>
        </p:txBody>
      </p:sp>
      <p:grpSp>
        <p:nvGrpSpPr>
          <p:cNvPr id="29" name="Группа 28"/>
          <p:cNvGrpSpPr/>
          <p:nvPr/>
        </p:nvGrpSpPr>
        <p:grpSpPr>
          <a:xfrm>
            <a:off x="8781417" y="3357618"/>
            <a:ext cx="3024336" cy="1537309"/>
            <a:chOff x="6429557" y="1742241"/>
            <a:chExt cx="3024336" cy="1376614"/>
          </a:xfrm>
        </p:grpSpPr>
        <p:sp>
          <p:nvSpPr>
            <p:cNvPr id="30" name="Прямоугольник 29"/>
            <p:cNvSpPr/>
            <p:nvPr/>
          </p:nvSpPr>
          <p:spPr>
            <a:xfrm>
              <a:off x="6429557" y="1742241"/>
              <a:ext cx="3024336" cy="137661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с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6521351" y="1819927"/>
              <a:ext cx="2852675" cy="1195581"/>
            </a:xfrm>
            <a:prstGeom prst="rect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Разработка информационно-аналитических систем оценки технического состояния и параметров эксплуатации объектов трубопроводного транспорт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61690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3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983431" y="722812"/>
            <a:ext cx="562333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аправления </a:t>
            </a:r>
            <a:r>
              <a:rPr lang="ru-RU" sz="2800" b="1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деятельно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8856000" y="1800000"/>
            <a:ext cx="3024336" cy="4104456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8927999" y="1872000"/>
            <a:ext cx="2880000" cy="1224000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полнение работ по разработке, </a:t>
            </a:r>
            <a:r>
              <a:rPr lang="ru-RU" sz="14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ормоконтролю</a:t>
            </a:r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и редактированию ГОСТ, ГОСТ Р, разработке СП и специальных технических условий (СТУ)*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55999" y="3312000"/>
            <a:ext cx="3024000" cy="252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* Разработка СТУ на проектирование и строительство объектов капитального строительства  включает создание комплекса нормативных требований по промышленной безопасности для конкретного объекта с целью обоснования отступлений от требований действующих норм, описания нестандартных проектных решений или разработки новых требований и их согласование в Минстрое и в </a:t>
            </a:r>
            <a:r>
              <a:rPr lang="ru-RU" sz="1200" dirty="0" err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скомэкспертизе</a:t>
            </a:r>
            <a:endParaRPr lang="ru-RU" sz="1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502444" y="1412776"/>
            <a:ext cx="11657806" cy="0"/>
          </a:xfrm>
          <a:prstGeom prst="line">
            <a:avLst/>
          </a:prstGeom>
          <a:ln w="76200" cap="sq">
            <a:solidFill>
              <a:srgbClr val="225A9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араллелограмм 30"/>
          <p:cNvSpPr/>
          <p:nvPr/>
        </p:nvSpPr>
        <p:spPr>
          <a:xfrm flipH="1">
            <a:off x="767408" y="1512000"/>
            <a:ext cx="7920000" cy="5112000"/>
          </a:xfrm>
          <a:prstGeom prst="parallelogram">
            <a:avLst>
              <a:gd name="adj" fmla="val 38526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3" name="Овал 32"/>
          <p:cNvSpPr/>
          <p:nvPr/>
        </p:nvSpPr>
        <p:spPr>
          <a:xfrm>
            <a:off x="1310283" y="4424363"/>
            <a:ext cx="1800225" cy="1800225"/>
          </a:xfrm>
          <a:prstGeom prst="ellipse">
            <a:avLst/>
          </a:prstGeom>
          <a:solidFill>
            <a:srgbClr val="F6F9FD"/>
          </a:solidFill>
          <a:ln>
            <a:solidFill>
              <a:srgbClr val="F6F9F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4" name="Овал 33"/>
          <p:cNvSpPr/>
          <p:nvPr/>
        </p:nvSpPr>
        <p:spPr>
          <a:xfrm>
            <a:off x="1343472" y="4679950"/>
            <a:ext cx="1287463" cy="1287463"/>
          </a:xfrm>
          <a:prstGeom prst="ellipse">
            <a:avLst/>
          </a:prstGeom>
          <a:solidFill>
            <a:srgbClr val="225A9C"/>
          </a:solidFill>
          <a:ln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ТД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 bwMode="auto">
          <a:xfrm flipH="1" flipV="1">
            <a:off x="1775720" y="1628800"/>
            <a:ext cx="1800000" cy="4680000"/>
          </a:xfrm>
          <a:prstGeom prst="line">
            <a:avLst/>
          </a:prstGeom>
          <a:ln w="381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 bwMode="auto">
          <a:xfrm>
            <a:off x="1655808" y="1620000"/>
            <a:ext cx="360000" cy="360000"/>
          </a:xfrm>
          <a:prstGeom prst="rect">
            <a:avLst/>
          </a:prstGeom>
          <a:solidFill>
            <a:srgbClr val="225A9C"/>
          </a:solidFill>
          <a:ln w="381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1</a:t>
            </a:r>
            <a:endParaRPr lang="ru-RU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2519808" y="3780000"/>
            <a:ext cx="357188" cy="357187"/>
          </a:xfrm>
          <a:prstGeom prst="rect">
            <a:avLst/>
          </a:prstGeom>
          <a:solidFill>
            <a:srgbClr val="225A9C"/>
          </a:solidFill>
          <a:ln w="381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4</a:t>
            </a:r>
            <a:endParaRPr lang="ru-RU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 bwMode="auto">
          <a:xfrm>
            <a:off x="2231808" y="3060000"/>
            <a:ext cx="357187" cy="357187"/>
          </a:xfrm>
          <a:prstGeom prst="rect">
            <a:avLst/>
          </a:prstGeom>
          <a:solidFill>
            <a:srgbClr val="225A9C"/>
          </a:solidFill>
          <a:ln w="381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3</a:t>
            </a:r>
            <a:endParaRPr lang="ru-RU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1943808" y="2340000"/>
            <a:ext cx="357188" cy="357187"/>
          </a:xfrm>
          <a:prstGeom prst="rect">
            <a:avLst/>
          </a:prstGeom>
          <a:solidFill>
            <a:srgbClr val="225A9C"/>
          </a:solidFill>
          <a:ln w="381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2</a:t>
            </a:r>
            <a:endParaRPr lang="ru-RU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2807808" y="4500000"/>
            <a:ext cx="357187" cy="357188"/>
          </a:xfrm>
          <a:prstGeom prst="rect">
            <a:avLst/>
          </a:prstGeom>
          <a:solidFill>
            <a:srgbClr val="225A9C"/>
          </a:solidFill>
          <a:ln w="381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5</a:t>
            </a:r>
            <a:endParaRPr lang="ru-RU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44" name="Прямоугольник 38"/>
          <p:cNvSpPr>
            <a:spLocks noChangeArrowheads="1"/>
          </p:cNvSpPr>
          <p:nvPr/>
        </p:nvSpPr>
        <p:spPr bwMode="auto">
          <a:xfrm>
            <a:off x="2375807" y="1620000"/>
            <a:ext cx="396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 anchorCtr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 dirty="0">
                <a:latin typeface="Open Sans"/>
                <a:ea typeface="Open Sans"/>
                <a:cs typeface="Open Sans"/>
              </a:rPr>
              <a:t>Разработка</a:t>
            </a:r>
            <a:endParaRPr lang="ru-RU" altLang="ru-RU" sz="1400" dirty="0"/>
          </a:p>
        </p:txBody>
      </p:sp>
      <p:sp>
        <p:nvSpPr>
          <p:cNvPr id="45" name="Прямоугольник 39"/>
          <p:cNvSpPr>
            <a:spLocks noChangeArrowheads="1"/>
          </p:cNvSpPr>
          <p:nvPr/>
        </p:nvSpPr>
        <p:spPr bwMode="auto">
          <a:xfrm>
            <a:off x="2663808" y="2340565"/>
            <a:ext cx="396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 anchorCtr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 dirty="0">
                <a:latin typeface="Open Sans"/>
                <a:ea typeface="Open Sans"/>
                <a:cs typeface="Open Sans"/>
              </a:rPr>
              <a:t>Согласование</a:t>
            </a:r>
            <a:endParaRPr lang="ru-RU" altLang="ru-RU" sz="1400" dirty="0"/>
          </a:p>
        </p:txBody>
      </p:sp>
      <p:sp>
        <p:nvSpPr>
          <p:cNvPr id="46" name="Прямоугольник 4"/>
          <p:cNvSpPr>
            <a:spLocks noChangeArrowheads="1"/>
          </p:cNvSpPr>
          <p:nvPr/>
        </p:nvSpPr>
        <p:spPr bwMode="auto">
          <a:xfrm>
            <a:off x="3239808" y="3780000"/>
            <a:ext cx="396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 dirty="0">
                <a:latin typeface="Open Sans"/>
                <a:ea typeface="Open Sans"/>
                <a:cs typeface="Open Sans"/>
              </a:rPr>
              <a:t>Проведение </a:t>
            </a:r>
            <a:r>
              <a:rPr lang="ru-RU" altLang="ru-RU" sz="1400" dirty="0" err="1">
                <a:latin typeface="Open Sans"/>
                <a:ea typeface="Open Sans"/>
                <a:cs typeface="Open Sans"/>
              </a:rPr>
              <a:t>нормоконтроля</a:t>
            </a:r>
            <a:endParaRPr lang="ru-RU" altLang="ru-RU" sz="1400" dirty="0"/>
          </a:p>
        </p:txBody>
      </p:sp>
      <p:sp>
        <p:nvSpPr>
          <p:cNvPr id="47" name="Прямоугольник 5"/>
          <p:cNvSpPr>
            <a:spLocks noChangeArrowheads="1"/>
          </p:cNvSpPr>
          <p:nvPr/>
        </p:nvSpPr>
        <p:spPr bwMode="auto">
          <a:xfrm>
            <a:off x="3815808" y="5220000"/>
            <a:ext cx="396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 anchorCtr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 dirty="0">
                <a:latin typeface="Open Sans"/>
                <a:ea typeface="Open Sans"/>
                <a:cs typeface="Open Sans"/>
              </a:rPr>
              <a:t>Оценка эффективности внедрения</a:t>
            </a:r>
            <a:endParaRPr lang="ru-RU" altLang="ru-RU" sz="1400" dirty="0"/>
          </a:p>
        </p:txBody>
      </p:sp>
      <p:sp>
        <p:nvSpPr>
          <p:cNvPr id="48" name="Прямоугольник 8"/>
          <p:cNvSpPr>
            <a:spLocks noChangeArrowheads="1"/>
          </p:cNvSpPr>
          <p:nvPr/>
        </p:nvSpPr>
        <p:spPr bwMode="auto">
          <a:xfrm>
            <a:off x="4103808" y="5868000"/>
            <a:ext cx="396000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 dirty="0">
                <a:latin typeface="Open Sans"/>
                <a:ea typeface="Open Sans"/>
                <a:cs typeface="Open Sans"/>
              </a:rPr>
              <a:t>Формирование стратегии развития нормативной базы</a:t>
            </a:r>
            <a:br>
              <a:rPr lang="ru-RU" altLang="ru-RU" sz="1400" dirty="0">
                <a:latin typeface="Open Sans"/>
                <a:ea typeface="Open Sans"/>
                <a:cs typeface="Open Sans"/>
              </a:rPr>
            </a:br>
            <a:r>
              <a:rPr lang="ru-RU" altLang="ru-RU" sz="1400" dirty="0">
                <a:latin typeface="Open Sans"/>
                <a:ea typeface="Open Sans"/>
                <a:cs typeface="Open Sans"/>
              </a:rPr>
              <a:t>и системы стандартизации</a:t>
            </a:r>
            <a:endParaRPr lang="ru-RU" altLang="ru-RU" sz="1400" dirty="0"/>
          </a:p>
        </p:txBody>
      </p:sp>
      <p:sp>
        <p:nvSpPr>
          <p:cNvPr id="49" name="Прямоугольник 48"/>
          <p:cNvSpPr/>
          <p:nvPr/>
        </p:nvSpPr>
        <p:spPr bwMode="auto">
          <a:xfrm>
            <a:off x="3095808" y="5220000"/>
            <a:ext cx="357187" cy="357188"/>
          </a:xfrm>
          <a:prstGeom prst="rect">
            <a:avLst/>
          </a:prstGeom>
          <a:solidFill>
            <a:srgbClr val="225A9C"/>
          </a:solidFill>
          <a:ln w="381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6</a:t>
            </a:r>
            <a:endParaRPr lang="ru-RU" dirty="0"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 bwMode="auto">
          <a:xfrm>
            <a:off x="3383808" y="5940000"/>
            <a:ext cx="357187" cy="357188"/>
          </a:xfrm>
          <a:prstGeom prst="rect">
            <a:avLst/>
          </a:prstGeom>
          <a:solidFill>
            <a:srgbClr val="225A9C"/>
          </a:solidFill>
          <a:ln w="381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7</a:t>
            </a:r>
          </a:p>
        </p:txBody>
      </p:sp>
      <p:sp>
        <p:nvSpPr>
          <p:cNvPr id="51" name="Прямоугольник 4"/>
          <p:cNvSpPr>
            <a:spLocks noChangeArrowheads="1"/>
          </p:cNvSpPr>
          <p:nvPr/>
        </p:nvSpPr>
        <p:spPr bwMode="auto">
          <a:xfrm>
            <a:off x="2951808" y="3086111"/>
            <a:ext cx="39600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 dirty="0">
                <a:latin typeface="Open Sans" panose="020B0606030504020204"/>
                <a:ea typeface="Open Sans" panose="020B0606030504020204"/>
                <a:cs typeface="Open Sans" panose="020B0606030504020204"/>
              </a:rPr>
              <a:t>Экспертиза</a:t>
            </a:r>
            <a:endParaRPr lang="ru-RU" altLang="ru-RU" sz="1400" dirty="0"/>
          </a:p>
        </p:txBody>
      </p:sp>
      <p:sp>
        <p:nvSpPr>
          <p:cNvPr id="52" name="Прямоугольник 4"/>
          <p:cNvSpPr>
            <a:spLocks noChangeArrowheads="1"/>
          </p:cNvSpPr>
          <p:nvPr/>
        </p:nvSpPr>
        <p:spPr bwMode="auto">
          <a:xfrm>
            <a:off x="3527808" y="4500000"/>
            <a:ext cx="396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 dirty="0">
                <a:latin typeface="Open Sans"/>
                <a:ea typeface="Open Sans"/>
                <a:cs typeface="Open Sans"/>
              </a:rPr>
              <a:t>Сопровождение утверждения и введения в действие</a:t>
            </a:r>
            <a:endParaRPr lang="ru-RU" altLang="ru-RU" sz="1400" dirty="0"/>
          </a:p>
        </p:txBody>
      </p:sp>
    </p:spTree>
    <p:extLst>
      <p:ext uri="{BB962C8B-B14F-4D97-AF65-F5344CB8AC3E}">
        <p14:creationId xmlns:p14="http://schemas.microsoft.com/office/powerpoint/2010/main" val="5722085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4</a:t>
            </a:fld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8856000" y="1800000"/>
            <a:ext cx="3024336" cy="4104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8928000" y="1872000"/>
            <a:ext cx="2880000" cy="1224000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полнение работ по разработке, </a:t>
            </a:r>
            <a:r>
              <a:rPr lang="ru-RU" sz="14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ормоконтролю</a:t>
            </a:r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и редактированию ГОСТ, ГОСТ Р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56000" y="3664059"/>
            <a:ext cx="3024000" cy="1815882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О ВНИИСТ уполномочен </a:t>
            </a:r>
          </a:p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 проведение </a:t>
            </a:r>
            <a:r>
              <a:rPr lang="ru-RU" sz="14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ормоконтроля</a:t>
            </a:r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поручением </a:t>
            </a:r>
          </a:p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ого агентства </a:t>
            </a:r>
          </a:p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 техническому регулированию </a:t>
            </a:r>
          </a:p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 метрологии </a:t>
            </a:r>
          </a:p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 23 декабря 2022 г. </a:t>
            </a:r>
          </a:p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№ ПР-10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502444" y="1412776"/>
            <a:ext cx="11657806" cy="0"/>
          </a:xfrm>
          <a:prstGeom prst="line">
            <a:avLst/>
          </a:prstGeom>
          <a:ln w="76200" cap="sq">
            <a:solidFill>
              <a:srgbClr val="225A9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Скругленный прямоугольник 3"/>
          <p:cNvSpPr/>
          <p:nvPr/>
        </p:nvSpPr>
        <p:spPr>
          <a:xfrm>
            <a:off x="720000" y="1800000"/>
            <a:ext cx="720000" cy="576000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1440000" y="3816000"/>
            <a:ext cx="720000" cy="576000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080000" y="2808000"/>
            <a:ext cx="720000" cy="576000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1800000" y="4824000"/>
            <a:ext cx="720000" cy="576000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2160000" y="5832000"/>
            <a:ext cx="720000" cy="576000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512000" y="1800000"/>
            <a:ext cx="4896000" cy="576000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ru-RU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1872000" y="2808000"/>
            <a:ext cx="4896000" cy="576000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ru-RU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2232000" y="3816000"/>
            <a:ext cx="4896000" cy="576000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ru-RU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2592000" y="4824000"/>
            <a:ext cx="4896000" cy="576000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ru-RU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2952000" y="5832000"/>
            <a:ext cx="4896000" cy="576000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altLang="ru-RU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983431" y="722812"/>
            <a:ext cx="451707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аправления </a:t>
            </a:r>
            <a:r>
              <a:rPr lang="ru-RU" sz="2800" b="1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деятельности</a:t>
            </a:r>
          </a:p>
        </p:txBody>
      </p:sp>
      <p:cxnSp>
        <p:nvCxnSpPr>
          <p:cNvPr id="5" name="Прямая соединительная линия 4"/>
          <p:cNvCxnSpPr>
            <a:stCxn id="4" idx="2"/>
            <a:endCxn id="33" idx="0"/>
          </p:cNvCxnSpPr>
          <p:nvPr/>
        </p:nvCxnSpPr>
        <p:spPr>
          <a:xfrm>
            <a:off x="1080000" y="2376000"/>
            <a:ext cx="360000" cy="432000"/>
          </a:xfrm>
          <a:prstGeom prst="line">
            <a:avLst/>
          </a:prstGeom>
          <a:ln w="28575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>
            <a:stCxn id="33" idx="2"/>
            <a:endCxn id="31" idx="0"/>
          </p:cNvCxnSpPr>
          <p:nvPr/>
        </p:nvCxnSpPr>
        <p:spPr>
          <a:xfrm>
            <a:off x="1440000" y="3384000"/>
            <a:ext cx="360000" cy="432000"/>
          </a:xfrm>
          <a:prstGeom prst="line">
            <a:avLst/>
          </a:prstGeom>
          <a:ln w="28575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>
            <a:stCxn id="31" idx="2"/>
            <a:endCxn id="34" idx="0"/>
          </p:cNvCxnSpPr>
          <p:nvPr/>
        </p:nvCxnSpPr>
        <p:spPr>
          <a:xfrm>
            <a:off x="1800000" y="4392000"/>
            <a:ext cx="360000" cy="432000"/>
          </a:xfrm>
          <a:prstGeom prst="line">
            <a:avLst/>
          </a:prstGeom>
          <a:ln w="28575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>
            <a:stCxn id="34" idx="2"/>
            <a:endCxn id="35" idx="0"/>
          </p:cNvCxnSpPr>
          <p:nvPr/>
        </p:nvCxnSpPr>
        <p:spPr>
          <a:xfrm>
            <a:off x="2160000" y="5400000"/>
            <a:ext cx="360000" cy="432000"/>
          </a:xfrm>
          <a:prstGeom prst="line">
            <a:avLst/>
          </a:prstGeom>
          <a:ln w="28575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1584000" y="1836000"/>
            <a:ext cx="4752000" cy="503590"/>
          </a:xfrm>
          <a:prstGeom prst="rect">
            <a:avLst/>
          </a:prstGeom>
        </p:spPr>
        <p:txBody>
          <a:bodyPr tIns="36000" bIns="36000" anchor="ctr" anchorCtr="1">
            <a:spAutoFit/>
          </a:bodyPr>
          <a:lstStyle/>
          <a:p>
            <a:pPr algn="ctr"/>
            <a:r>
              <a:rPr lang="ru-RU" alt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формление договора на проведение работ </a:t>
            </a:r>
          </a:p>
          <a:p>
            <a:pPr algn="ctr"/>
            <a:r>
              <a:rPr lang="ru-RU" alt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 включение стандартов в план-график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944000" y="2844000"/>
            <a:ext cx="4752000" cy="503590"/>
          </a:xfrm>
          <a:prstGeom prst="rect">
            <a:avLst/>
          </a:prstGeom>
        </p:spPr>
        <p:txBody>
          <a:bodyPr tIns="36000" bIns="36000" anchor="ctr" anchorCtr="1">
            <a:spAutoFit/>
          </a:bodyPr>
          <a:lstStyle/>
          <a:p>
            <a:pPr algn="ctr"/>
            <a:r>
              <a:rPr lang="ru-RU" alt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лучение комплекта документов </a:t>
            </a:r>
          </a:p>
          <a:p>
            <a:pPr algn="ctr"/>
            <a:r>
              <a:rPr lang="ru-RU" alt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на электронном и бумажном носителях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623717" y="3852000"/>
            <a:ext cx="2112566" cy="504000"/>
          </a:xfrm>
          <a:prstGeom prst="rect">
            <a:avLst/>
          </a:prstGeom>
        </p:spPr>
        <p:txBody>
          <a:bodyPr wrap="none" tIns="36000" bIns="36000" anchor="ctr" anchorCtr="1">
            <a:spAutoFit/>
          </a:bodyPr>
          <a:lstStyle/>
          <a:p>
            <a:pPr algn="ctr"/>
            <a:r>
              <a:rPr lang="ru-RU" alt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ведение </a:t>
            </a:r>
            <a:r>
              <a:rPr lang="ru-RU" altLang="ru-RU" sz="14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ормоконтроля</a:t>
            </a:r>
            <a:endParaRPr lang="ru-RU" alt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852000" y="4860000"/>
            <a:ext cx="2371097" cy="504000"/>
          </a:xfrm>
          <a:prstGeom prst="rect">
            <a:avLst/>
          </a:prstGeom>
        </p:spPr>
        <p:txBody>
          <a:bodyPr wrap="none" anchor="ctr" anchorCtr="1">
            <a:spAutoFit/>
          </a:bodyPr>
          <a:lstStyle/>
          <a:p>
            <a:pPr algn="ctr"/>
            <a:r>
              <a:rPr lang="ru-RU" alt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становка штампа «В набор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024000" y="5975721"/>
            <a:ext cx="4752000" cy="288147"/>
          </a:xfrm>
          <a:prstGeom prst="rect">
            <a:avLst/>
          </a:prstGeom>
        </p:spPr>
        <p:txBody>
          <a:bodyPr lIns="36000" tIns="36000" rIns="36000" bIns="36000" anchor="ctr" anchorCtr="1">
            <a:spAutoFit/>
          </a:bodyPr>
          <a:lstStyle/>
          <a:p>
            <a:pPr algn="ctr"/>
            <a:r>
              <a:rPr lang="ru-RU" alt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формление закрывающих документов</a:t>
            </a:r>
          </a:p>
        </p:txBody>
      </p:sp>
    </p:spTree>
    <p:extLst>
      <p:ext uri="{BB962C8B-B14F-4D97-AF65-F5344CB8AC3E}">
        <p14:creationId xmlns:p14="http://schemas.microsoft.com/office/powerpoint/2010/main" val="41231938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Прямоугольник 214"/>
          <p:cNvSpPr/>
          <p:nvPr/>
        </p:nvSpPr>
        <p:spPr>
          <a:xfrm>
            <a:off x="476969" y="5483881"/>
            <a:ext cx="11722100" cy="942249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5</a:t>
            </a:fld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983431" y="722812"/>
            <a:ext cx="562333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аправления </a:t>
            </a:r>
            <a:r>
              <a:rPr lang="ru-RU" sz="2800" b="1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деятельност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923202" y="1881116"/>
            <a:ext cx="3588621" cy="837561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4773416" y="1881116"/>
            <a:ext cx="3588621" cy="837561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4925740" y="2002394"/>
            <a:ext cx="591623" cy="59500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05.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5656125" y="2038285"/>
            <a:ext cx="24560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граммы и методики испытаний</a:t>
            </a:r>
            <a:endParaRPr lang="ru-RU" sz="1400" dirty="0"/>
          </a:p>
        </p:txBody>
      </p:sp>
      <p:sp>
        <p:nvSpPr>
          <p:cNvPr id="73" name="Прямоугольник 72"/>
          <p:cNvSpPr/>
          <p:nvPr/>
        </p:nvSpPr>
        <p:spPr>
          <a:xfrm>
            <a:off x="923202" y="2948023"/>
            <a:ext cx="3588621" cy="837561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75526" y="3069301"/>
            <a:ext cx="591623" cy="59500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02.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1805911" y="3212913"/>
            <a:ext cx="24701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андарты организаций</a:t>
            </a:r>
            <a:endParaRPr lang="ru-RU" sz="1400" dirty="0"/>
          </a:p>
        </p:txBody>
      </p:sp>
      <p:sp>
        <p:nvSpPr>
          <p:cNvPr id="82" name="Прямоугольник 81"/>
          <p:cNvSpPr/>
          <p:nvPr/>
        </p:nvSpPr>
        <p:spPr>
          <a:xfrm>
            <a:off x="4773416" y="4034645"/>
            <a:ext cx="3588621" cy="837561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4925740" y="4155923"/>
            <a:ext cx="591623" cy="59500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07.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5656125" y="4299534"/>
            <a:ext cx="245609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ЛАРН</a:t>
            </a:r>
            <a:endParaRPr lang="ru-RU" sz="1400" dirty="0"/>
          </a:p>
        </p:txBody>
      </p:sp>
      <p:sp>
        <p:nvSpPr>
          <p:cNvPr id="88" name="Прямоугольник 87"/>
          <p:cNvSpPr/>
          <p:nvPr/>
        </p:nvSpPr>
        <p:spPr>
          <a:xfrm>
            <a:off x="4773416" y="5101552"/>
            <a:ext cx="3588621" cy="837561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89" name="Прямоугольник 88"/>
          <p:cNvSpPr/>
          <p:nvPr/>
        </p:nvSpPr>
        <p:spPr>
          <a:xfrm>
            <a:off x="4925740" y="5222830"/>
            <a:ext cx="591623" cy="59500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08.</a:t>
            </a:r>
          </a:p>
        </p:txBody>
      </p:sp>
      <p:sp>
        <p:nvSpPr>
          <p:cNvPr id="90" name="Прямоугольник 89"/>
          <p:cNvSpPr/>
          <p:nvPr/>
        </p:nvSpPr>
        <p:spPr>
          <a:xfrm>
            <a:off x="5656125" y="5150998"/>
            <a:ext cx="252810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иповые технологические карты, решения, проекты строительства</a:t>
            </a:r>
            <a:endParaRPr lang="ru-RU" sz="14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805911" y="2038285"/>
            <a:ext cx="24701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хнические условия на продукцию</a:t>
            </a:r>
            <a:endParaRPr lang="ru-RU" sz="1400" dirty="0"/>
          </a:p>
        </p:txBody>
      </p:sp>
      <p:sp>
        <p:nvSpPr>
          <p:cNvPr id="76" name="Прямоугольник 75"/>
          <p:cNvSpPr/>
          <p:nvPr/>
        </p:nvSpPr>
        <p:spPr>
          <a:xfrm>
            <a:off x="4773416" y="2948023"/>
            <a:ext cx="3588621" cy="837561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4925740" y="3069301"/>
            <a:ext cx="591623" cy="59500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06.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5656125" y="2997469"/>
            <a:ext cx="245609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хнологические регламенты на эксплуатацию ОПО</a:t>
            </a:r>
            <a:endParaRPr lang="ru-RU" sz="1400" dirty="0"/>
          </a:p>
        </p:txBody>
      </p:sp>
      <p:sp>
        <p:nvSpPr>
          <p:cNvPr id="85" name="Прямоугольник 84"/>
          <p:cNvSpPr/>
          <p:nvPr/>
        </p:nvSpPr>
        <p:spPr>
          <a:xfrm>
            <a:off x="923202" y="5101552"/>
            <a:ext cx="3588621" cy="837561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1805911" y="5366442"/>
            <a:ext cx="24752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комендации</a:t>
            </a:r>
            <a:endParaRPr lang="ru-RU" sz="1400" dirty="0"/>
          </a:p>
        </p:txBody>
      </p:sp>
      <p:sp>
        <p:nvSpPr>
          <p:cNvPr id="79" name="Прямоугольник 78"/>
          <p:cNvSpPr/>
          <p:nvPr/>
        </p:nvSpPr>
        <p:spPr>
          <a:xfrm>
            <a:off x="923202" y="4034645"/>
            <a:ext cx="3588621" cy="837561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1075526" y="4155923"/>
            <a:ext cx="591623" cy="59500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03.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1805911" y="4299535"/>
            <a:ext cx="24752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струкции</a:t>
            </a:r>
            <a:endParaRPr lang="ru-RU" sz="14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075526" y="2002394"/>
            <a:ext cx="591623" cy="59500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01.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1075526" y="5222830"/>
            <a:ext cx="591623" cy="595003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04.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8856000" y="1800000"/>
            <a:ext cx="3024336" cy="4104456"/>
            <a:chOff x="8761933" y="1853335"/>
            <a:chExt cx="3024336" cy="4104456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8761933" y="1853335"/>
              <a:ext cx="3024336" cy="410445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с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8833933" y="1925335"/>
              <a:ext cx="2880000" cy="1224000"/>
            </a:xfrm>
            <a:prstGeom prst="rect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Выполнение работ по разработке и согласованию технических документов</a:t>
              </a:r>
              <a:endParaRPr lang="ru-RU" sz="14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8761933" y="3365335"/>
              <a:ext cx="3024000" cy="2520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u="sng"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В области:</a:t>
              </a:r>
            </a:p>
            <a:p>
              <a:pPr algn="ctr"/>
              <a:endParaRPr lang="ru-RU" sz="700" u="sng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pPr marL="171450" indent="-171450" algn="just">
                <a:buFont typeface="Tahoma" panose="020B0604030504040204" pitchFamily="34" charset="0"/>
                <a:buChar char="‑"/>
              </a:pPr>
              <a:r>
                <a:rPr lang="ru-RU" sz="1400"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Технологии и организации строительства трубопроводов;</a:t>
              </a:r>
            </a:p>
            <a:p>
              <a:pPr algn="just"/>
              <a:endParaRPr lang="ru-RU" sz="7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pPr marL="171450" indent="-171450" algn="just">
                <a:buFont typeface="Tahoma" panose="020B0604030504040204" pitchFamily="34" charset="0"/>
                <a:buChar char="‑"/>
              </a:pPr>
              <a:r>
                <a:rPr lang="ru-RU" sz="1400"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Технологии транспорта и хранения нефти и газа;</a:t>
              </a:r>
            </a:p>
            <a:p>
              <a:pPr algn="just"/>
              <a:endParaRPr lang="ru-RU" sz="7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pPr marL="171450" indent="-171450" algn="just">
                <a:buFont typeface="Tahoma" panose="020B0604030504040204" pitchFamily="34" charset="0"/>
                <a:buChar char="‑"/>
              </a:pPr>
              <a:r>
                <a:rPr lang="ru-RU" sz="1400"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Нефтегазохимии;</a:t>
              </a:r>
            </a:p>
            <a:p>
              <a:pPr algn="just"/>
              <a:endParaRPr lang="ru-RU" sz="7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pPr marL="171450" indent="-171450" algn="just">
                <a:buFont typeface="Tahoma" panose="020B0604030504040204" pitchFamily="34" charset="0"/>
                <a:buChar char="‑"/>
              </a:pPr>
              <a:r>
                <a:rPr lang="ru-RU" sz="1400"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Обустройства месторождений нефти и газа</a:t>
              </a:r>
            </a:p>
          </p:txBody>
        </p:sp>
      </p:grpSp>
      <p:cxnSp>
        <p:nvCxnSpPr>
          <p:cNvPr id="182" name="Прямая соединительная линия 181"/>
          <p:cNvCxnSpPr>
            <a:stCxn id="80" idx="2"/>
            <a:endCxn id="86" idx="0"/>
          </p:cNvCxnSpPr>
          <p:nvPr/>
        </p:nvCxnSpPr>
        <p:spPr>
          <a:xfrm>
            <a:off x="1371338" y="4750926"/>
            <a:ext cx="0" cy="471904"/>
          </a:xfrm>
          <a:prstGeom prst="line">
            <a:avLst/>
          </a:prstGeom>
          <a:ln w="381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Прямая соединительная линия 186"/>
          <p:cNvCxnSpPr>
            <a:stCxn id="74" idx="2"/>
            <a:endCxn id="80" idx="0"/>
          </p:cNvCxnSpPr>
          <p:nvPr/>
        </p:nvCxnSpPr>
        <p:spPr>
          <a:xfrm>
            <a:off x="1371338" y="3664304"/>
            <a:ext cx="0" cy="491619"/>
          </a:xfrm>
          <a:prstGeom prst="line">
            <a:avLst/>
          </a:prstGeom>
          <a:ln w="381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Прямая соединительная линия 189"/>
          <p:cNvCxnSpPr>
            <a:stCxn id="13" idx="2"/>
            <a:endCxn id="74" idx="0"/>
          </p:cNvCxnSpPr>
          <p:nvPr/>
        </p:nvCxnSpPr>
        <p:spPr>
          <a:xfrm>
            <a:off x="1371338" y="2597397"/>
            <a:ext cx="0" cy="471904"/>
          </a:xfrm>
          <a:prstGeom prst="line">
            <a:avLst/>
          </a:prstGeom>
          <a:ln w="381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Прямая соединительная линия 193"/>
          <p:cNvCxnSpPr>
            <a:stCxn id="71" idx="2"/>
            <a:endCxn id="77" idx="0"/>
          </p:cNvCxnSpPr>
          <p:nvPr/>
        </p:nvCxnSpPr>
        <p:spPr>
          <a:xfrm>
            <a:off x="5221552" y="2597397"/>
            <a:ext cx="0" cy="471904"/>
          </a:xfrm>
          <a:prstGeom prst="line">
            <a:avLst/>
          </a:prstGeom>
          <a:ln w="381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Прямая соединительная линия 197"/>
          <p:cNvCxnSpPr>
            <a:stCxn id="77" idx="2"/>
            <a:endCxn id="83" idx="0"/>
          </p:cNvCxnSpPr>
          <p:nvPr/>
        </p:nvCxnSpPr>
        <p:spPr>
          <a:xfrm>
            <a:off x="5221552" y="3664304"/>
            <a:ext cx="0" cy="491619"/>
          </a:xfrm>
          <a:prstGeom prst="line">
            <a:avLst/>
          </a:prstGeom>
          <a:ln w="381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Прямая соединительная линия 201"/>
          <p:cNvCxnSpPr>
            <a:stCxn id="83" idx="2"/>
            <a:endCxn id="89" idx="0"/>
          </p:cNvCxnSpPr>
          <p:nvPr/>
        </p:nvCxnSpPr>
        <p:spPr>
          <a:xfrm>
            <a:off x="5221552" y="4750926"/>
            <a:ext cx="0" cy="471904"/>
          </a:xfrm>
          <a:prstGeom prst="line">
            <a:avLst/>
          </a:prstGeom>
          <a:ln w="381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502444" y="1412776"/>
            <a:ext cx="11657806" cy="0"/>
          </a:xfrm>
          <a:prstGeom prst="line">
            <a:avLst/>
          </a:prstGeom>
          <a:ln w="76200" cap="sq">
            <a:solidFill>
              <a:srgbClr val="225A9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07482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Прямоугольник 77"/>
          <p:cNvSpPr/>
          <p:nvPr/>
        </p:nvSpPr>
        <p:spPr>
          <a:xfrm flipV="1">
            <a:off x="6255599" y="5070468"/>
            <a:ext cx="1877140" cy="924383"/>
          </a:xfrm>
          <a:prstGeom prst="rect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77" name="Прямоугольник 76"/>
          <p:cNvSpPr/>
          <p:nvPr/>
        </p:nvSpPr>
        <p:spPr>
          <a:xfrm flipV="1">
            <a:off x="3668892" y="5070468"/>
            <a:ext cx="1877140" cy="924383"/>
          </a:xfrm>
          <a:prstGeom prst="rect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76" name="Прямоугольник 75"/>
          <p:cNvSpPr/>
          <p:nvPr/>
        </p:nvSpPr>
        <p:spPr>
          <a:xfrm flipV="1">
            <a:off x="4994912" y="2261092"/>
            <a:ext cx="1877140" cy="924383"/>
          </a:xfrm>
          <a:prstGeom prst="rect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75" name="Прямоугольник 74"/>
          <p:cNvSpPr/>
          <p:nvPr/>
        </p:nvSpPr>
        <p:spPr>
          <a:xfrm flipV="1">
            <a:off x="1015558" y="5049800"/>
            <a:ext cx="1877140" cy="924383"/>
          </a:xfrm>
          <a:prstGeom prst="rect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6</a:t>
            </a:fld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983431" y="722812"/>
            <a:ext cx="562333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аправления </a:t>
            </a:r>
            <a:r>
              <a:rPr lang="ru-RU" sz="2800" b="1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деятельности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8761933" y="1853335"/>
            <a:ext cx="3024336" cy="4104456"/>
            <a:chOff x="8761933" y="1853335"/>
            <a:chExt cx="3024336" cy="410445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761933" y="1853335"/>
              <a:ext cx="3024336" cy="410445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с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8853727" y="1931021"/>
              <a:ext cx="2852675" cy="1195581"/>
            </a:xfrm>
            <a:prstGeom prst="rect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рганизация и участие в выполнении научно-исследовательских и опытно-конструкторских работ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8863567" y="4178689"/>
              <a:ext cx="2852675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Реализация</a:t>
              </a:r>
              <a:r>
                <a:rPr lang="en-US" sz="1200"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НИОКР</a:t>
              </a:r>
              <a:r>
                <a:rPr lang="ru-RU" sz="1200"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в сфере создания, модернизации, исследования, подтверждения качества технологий транспортировки и хранения углеводородов и других продуктов</a:t>
              </a:r>
              <a:r>
                <a:rPr lang="en-US" sz="1200"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ru-RU" sz="1200"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направленных на повышение качества продукции и предоставляемых услуг</a:t>
              </a: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8853727" y="3324234"/>
            <a:ext cx="28526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дготовка предложений к формированию программы на выполнение НИР и НИОКР</a:t>
            </a: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8904312" y="4094642"/>
            <a:ext cx="2802090" cy="0"/>
          </a:xfrm>
          <a:prstGeom prst="line">
            <a:avLst/>
          </a:prstGeom>
          <a:ln w="1905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675018" y="1599916"/>
            <a:ext cx="428493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труктура </a:t>
            </a:r>
            <a:r>
              <a:rPr lang="ru-RU" sz="2000" b="1" dirty="0">
                <a:solidFill>
                  <a:srgbClr val="225A9C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НИОКР ВНИИСТ: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502444" y="1412776"/>
            <a:ext cx="11657806" cy="0"/>
          </a:xfrm>
          <a:prstGeom prst="line">
            <a:avLst/>
          </a:prstGeom>
          <a:ln w="76200" cap="sq">
            <a:solidFill>
              <a:srgbClr val="225A9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Дуга 32"/>
          <p:cNvSpPr/>
          <p:nvPr/>
        </p:nvSpPr>
        <p:spPr>
          <a:xfrm rot="6399422">
            <a:off x="7027788" y="4345830"/>
            <a:ext cx="1829632" cy="1095312"/>
          </a:xfrm>
          <a:prstGeom prst="arc">
            <a:avLst>
              <a:gd name="adj1" fmla="val 3455801"/>
              <a:gd name="adj2" fmla="val 9028348"/>
            </a:avLst>
          </a:prstGeom>
          <a:ln w="57150">
            <a:solidFill>
              <a:srgbClr val="225A9C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Прямоугольник 70"/>
          <p:cNvSpPr/>
          <p:nvPr/>
        </p:nvSpPr>
        <p:spPr>
          <a:xfrm>
            <a:off x="6270670" y="5197242"/>
            <a:ext cx="18237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Экспертно-аналитические работы</a:t>
            </a:r>
          </a:p>
        </p:txBody>
      </p:sp>
      <p:sp>
        <p:nvSpPr>
          <p:cNvPr id="63" name="Дуга 62"/>
          <p:cNvSpPr/>
          <p:nvPr/>
        </p:nvSpPr>
        <p:spPr>
          <a:xfrm rot="6399422">
            <a:off x="4276178" y="4345830"/>
            <a:ext cx="1829632" cy="1095312"/>
          </a:xfrm>
          <a:prstGeom prst="arc">
            <a:avLst>
              <a:gd name="adj1" fmla="val 3455801"/>
              <a:gd name="adj2" fmla="val 9034182"/>
            </a:avLst>
          </a:prstGeom>
          <a:ln w="57150">
            <a:solidFill>
              <a:srgbClr val="225A9C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Дуга 64"/>
          <p:cNvSpPr/>
          <p:nvPr/>
        </p:nvSpPr>
        <p:spPr>
          <a:xfrm rot="6399422">
            <a:off x="1597188" y="4345830"/>
            <a:ext cx="1829632" cy="1095312"/>
          </a:xfrm>
          <a:prstGeom prst="arc">
            <a:avLst>
              <a:gd name="adj1" fmla="val 3455801"/>
              <a:gd name="adj2" fmla="val 9044551"/>
            </a:avLst>
          </a:prstGeom>
          <a:ln w="57150">
            <a:solidFill>
              <a:srgbClr val="225A9C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Прямоугольник 67"/>
          <p:cNvSpPr/>
          <p:nvPr/>
        </p:nvSpPr>
        <p:spPr>
          <a:xfrm>
            <a:off x="905546" y="5108411"/>
            <a:ext cx="20758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ехнология и организация строительства трубопроводов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3916635" y="5213593"/>
            <a:ext cx="13794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ехнология транспорта нефти и газа</a:t>
            </a:r>
          </a:p>
        </p:txBody>
      </p:sp>
      <p:sp>
        <p:nvSpPr>
          <p:cNvPr id="67" name="Дуга 66"/>
          <p:cNvSpPr/>
          <p:nvPr/>
        </p:nvSpPr>
        <p:spPr>
          <a:xfrm rot="15200578" flipV="1">
            <a:off x="5593360" y="2842832"/>
            <a:ext cx="1829632" cy="1095312"/>
          </a:xfrm>
          <a:prstGeom prst="arc">
            <a:avLst>
              <a:gd name="adj1" fmla="val 3455801"/>
              <a:gd name="adj2" fmla="val 9099811"/>
            </a:avLst>
          </a:prstGeom>
          <a:ln w="57150">
            <a:solidFill>
              <a:srgbClr val="225A9C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Прямоугольник 72"/>
          <p:cNvSpPr/>
          <p:nvPr/>
        </p:nvSpPr>
        <p:spPr>
          <a:xfrm flipV="1">
            <a:off x="2279224" y="2265367"/>
            <a:ext cx="1877140" cy="924383"/>
          </a:xfrm>
          <a:prstGeom prst="rect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74" name="Дуга 73"/>
          <p:cNvSpPr/>
          <p:nvPr/>
        </p:nvSpPr>
        <p:spPr>
          <a:xfrm rot="15200578" flipV="1">
            <a:off x="2910902" y="2842832"/>
            <a:ext cx="1829632" cy="1095312"/>
          </a:xfrm>
          <a:prstGeom prst="arc">
            <a:avLst>
              <a:gd name="adj1" fmla="val 3455801"/>
              <a:gd name="adj2" fmla="val 9099811"/>
            </a:avLst>
          </a:prstGeom>
          <a:ln w="57150">
            <a:solidFill>
              <a:srgbClr val="225A9C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Прямоугольник 71"/>
          <p:cNvSpPr/>
          <p:nvPr/>
        </p:nvSpPr>
        <p:spPr>
          <a:xfrm>
            <a:off x="5153935" y="2499434"/>
            <a:ext cx="15590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щита</a:t>
            </a:r>
            <a:b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т коррозии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2330206" y="2319488"/>
            <a:ext cx="178534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варка, контроль качества, диагностика и испытания труб и трубопроводов</a:t>
            </a:r>
          </a:p>
        </p:txBody>
      </p:sp>
      <p:cxnSp>
        <p:nvCxnSpPr>
          <p:cNvPr id="81" name="Прямая соединительная линия 80"/>
          <p:cNvCxnSpPr/>
          <p:nvPr/>
        </p:nvCxnSpPr>
        <p:spPr>
          <a:xfrm>
            <a:off x="2326707" y="4149080"/>
            <a:ext cx="6399298" cy="0"/>
          </a:xfrm>
          <a:prstGeom prst="line">
            <a:avLst/>
          </a:prstGeom>
          <a:ln w="5715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Овал 82"/>
          <p:cNvSpPr/>
          <p:nvPr/>
        </p:nvSpPr>
        <p:spPr>
          <a:xfrm>
            <a:off x="2222414" y="4065278"/>
            <a:ext cx="187128" cy="187128"/>
          </a:xfrm>
          <a:prstGeom prst="ellipse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225A9C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86" name="Овал 85"/>
          <p:cNvSpPr/>
          <p:nvPr/>
        </p:nvSpPr>
        <p:spPr>
          <a:xfrm>
            <a:off x="3529286" y="4055516"/>
            <a:ext cx="187128" cy="187128"/>
          </a:xfrm>
          <a:prstGeom prst="ellipse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225A9C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87" name="Овал 86"/>
          <p:cNvSpPr/>
          <p:nvPr/>
        </p:nvSpPr>
        <p:spPr>
          <a:xfrm>
            <a:off x="4886255" y="4065278"/>
            <a:ext cx="187128" cy="187128"/>
          </a:xfrm>
          <a:prstGeom prst="ellipse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225A9C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88" name="Овал 87"/>
          <p:cNvSpPr/>
          <p:nvPr/>
        </p:nvSpPr>
        <p:spPr>
          <a:xfrm>
            <a:off x="6208276" y="4065278"/>
            <a:ext cx="187128" cy="187128"/>
          </a:xfrm>
          <a:prstGeom prst="ellipse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225A9C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89" name="Овал 88"/>
          <p:cNvSpPr/>
          <p:nvPr/>
        </p:nvSpPr>
        <p:spPr>
          <a:xfrm>
            <a:off x="7586885" y="4070302"/>
            <a:ext cx="187128" cy="187128"/>
          </a:xfrm>
          <a:prstGeom prst="ellipse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225A9C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1841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474392" y="1420527"/>
            <a:ext cx="3893415" cy="3227368"/>
          </a:xfrm>
          <a:prstGeom prst="rect">
            <a:avLst/>
          </a:prstGeom>
          <a:solidFill>
            <a:srgbClr val="225A9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695400" y="2024058"/>
            <a:ext cx="3639558" cy="2673146"/>
          </a:xfrm>
          <a:prstGeom prst="rect">
            <a:avLst/>
          </a:prstGeom>
          <a:solidFill>
            <a:srgbClr val="225A9C"/>
          </a:solidFill>
          <a:ln w="76200">
            <a:solidFill>
              <a:srgbClr val="F6F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/>
          <p:cNvSpPr/>
          <p:nvPr/>
        </p:nvSpPr>
        <p:spPr>
          <a:xfrm>
            <a:off x="4334958" y="2021680"/>
            <a:ext cx="3361216" cy="1081531"/>
          </a:xfrm>
          <a:prstGeom prst="rect">
            <a:avLst/>
          </a:prstGeom>
          <a:solidFill>
            <a:srgbClr val="F6F9FD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" name="Группа 6"/>
          <p:cNvGrpSpPr/>
          <p:nvPr/>
        </p:nvGrpSpPr>
        <p:grpSpPr>
          <a:xfrm>
            <a:off x="8761933" y="1853335"/>
            <a:ext cx="3024336" cy="4104456"/>
            <a:chOff x="8761933" y="1853335"/>
            <a:chExt cx="3024336" cy="4104456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8761933" y="1853335"/>
              <a:ext cx="3024336" cy="410445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с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8853727" y="1931021"/>
              <a:ext cx="2852675" cy="1195581"/>
            </a:xfrm>
            <a:prstGeom prst="rect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1" name="Скругленный прямоугольник 20"/>
          <p:cNvSpPr/>
          <p:nvPr/>
        </p:nvSpPr>
        <p:spPr>
          <a:xfrm>
            <a:off x="983431" y="2652376"/>
            <a:ext cx="10055529" cy="3500908"/>
          </a:xfrm>
          <a:prstGeom prst="roundRect">
            <a:avLst>
              <a:gd name="adj" fmla="val 8594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7</a:t>
            </a:fld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983431" y="722812"/>
            <a:ext cx="562333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аправления </a:t>
            </a:r>
            <a:r>
              <a:rPr lang="ru-RU" sz="2800" b="1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деятельност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886694" y="4739448"/>
            <a:ext cx="292119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работка экспертного мнения (экспертизы) в части судебных и налоговых споров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122694" y="4749133"/>
            <a:ext cx="313698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ределение необходимости разработки СТУ, а также вида разрабатываемых СТУ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886694" y="2810247"/>
            <a:ext cx="292119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несение объектов к определенным категориям в соответствии с нормативными документам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558328" y="2860226"/>
            <a:ext cx="292182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бор продукции, изделий и материалов, прошедших успешные испытания в испытательном центре ВНИИСТ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514594" y="4990944"/>
            <a:ext cx="29932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бор технологии выполнения СМР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230589" y="2978933"/>
            <a:ext cx="295601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ъяснение положений НД в рамках разработки ПД и выполнения СМР на соответствующих объектах</a:t>
            </a:r>
          </a:p>
        </p:txBody>
      </p:sp>
      <p:sp>
        <p:nvSpPr>
          <p:cNvPr id="10" name="Прямоугольник 9"/>
          <p:cNvSpPr/>
          <p:nvPr/>
        </p:nvSpPr>
        <p:spPr>
          <a:xfrm rot="16200000">
            <a:off x="10029198" y="4280586"/>
            <a:ext cx="28311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области стандартизации и при разработке ПД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1230590" y="4402830"/>
            <a:ext cx="2921194" cy="0"/>
          </a:xfrm>
          <a:prstGeom prst="line">
            <a:avLst/>
          </a:prstGeom>
          <a:ln w="12700" cap="rnd">
            <a:solidFill>
              <a:srgbClr val="C9DCF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367808" y="2751887"/>
            <a:ext cx="0" cy="1440161"/>
          </a:xfrm>
          <a:prstGeom prst="line">
            <a:avLst/>
          </a:prstGeom>
          <a:ln w="12700" cap="rnd">
            <a:solidFill>
              <a:srgbClr val="C9DCF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 flipV="1">
            <a:off x="4367808" y="4608081"/>
            <a:ext cx="0" cy="1440161"/>
          </a:xfrm>
          <a:prstGeom prst="line">
            <a:avLst/>
          </a:prstGeom>
          <a:ln w="12700" cap="rnd">
            <a:solidFill>
              <a:srgbClr val="C9DCF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4550598" y="4413380"/>
            <a:ext cx="2921194" cy="0"/>
          </a:xfrm>
          <a:prstGeom prst="line">
            <a:avLst/>
          </a:prstGeom>
          <a:ln w="12700" cap="rnd">
            <a:solidFill>
              <a:srgbClr val="C9DCF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7886694" y="4402830"/>
            <a:ext cx="2921194" cy="0"/>
          </a:xfrm>
          <a:prstGeom prst="line">
            <a:avLst/>
          </a:prstGeom>
          <a:ln w="12700" cap="rnd">
            <a:solidFill>
              <a:srgbClr val="C9DCF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7696174" y="2751887"/>
            <a:ext cx="0" cy="1440161"/>
          </a:xfrm>
          <a:prstGeom prst="line">
            <a:avLst/>
          </a:prstGeom>
          <a:ln w="12700" cap="rnd">
            <a:solidFill>
              <a:srgbClr val="C9DCF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V="1">
            <a:off x="7696174" y="4608081"/>
            <a:ext cx="0" cy="1440161"/>
          </a:xfrm>
          <a:prstGeom prst="line">
            <a:avLst/>
          </a:prstGeom>
          <a:ln w="12700" cap="rnd">
            <a:solidFill>
              <a:srgbClr val="C9DCF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Овал 44"/>
          <p:cNvSpPr/>
          <p:nvPr/>
        </p:nvSpPr>
        <p:spPr>
          <a:xfrm>
            <a:off x="4062138" y="4094632"/>
            <a:ext cx="605192" cy="605192"/>
          </a:xfrm>
          <a:prstGeom prst="ellipse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225A9C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46" name="Овал 45"/>
          <p:cNvSpPr/>
          <p:nvPr/>
        </p:nvSpPr>
        <p:spPr>
          <a:xfrm>
            <a:off x="7393578" y="4110783"/>
            <a:ext cx="605192" cy="605192"/>
          </a:xfrm>
          <a:prstGeom prst="ellipse">
            <a:avLst/>
          </a:prstGeom>
          <a:solidFill>
            <a:schemeClr val="bg1"/>
          </a:solidFill>
          <a:ln w="762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225A9C"/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3880934" y="2024062"/>
            <a:ext cx="493325" cy="0"/>
          </a:xfrm>
          <a:prstGeom prst="line">
            <a:avLst/>
          </a:prstGeom>
          <a:ln w="76200" cap="flat">
            <a:solidFill>
              <a:srgbClr val="F6F9FD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502444" y="1412776"/>
            <a:ext cx="11657806" cy="0"/>
          </a:xfrm>
          <a:prstGeom prst="line">
            <a:avLst/>
          </a:prstGeom>
          <a:ln w="76200" cap="sq">
            <a:solidFill>
              <a:srgbClr val="225A9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9046274" y="2151414"/>
            <a:ext cx="256704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нсультационные</a:t>
            </a:r>
            <a:r>
              <a:rPr lang="ru-RU" sz="16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услуги</a:t>
            </a:r>
          </a:p>
        </p:txBody>
      </p:sp>
    </p:spTree>
    <p:extLst>
      <p:ext uri="{BB962C8B-B14F-4D97-AF65-F5344CB8AC3E}">
        <p14:creationId xmlns:p14="http://schemas.microsoft.com/office/powerpoint/2010/main" val="7321632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Прямоугольник 219"/>
          <p:cNvSpPr/>
          <p:nvPr/>
        </p:nvSpPr>
        <p:spPr>
          <a:xfrm>
            <a:off x="476969" y="1425964"/>
            <a:ext cx="9795493" cy="5433576"/>
          </a:xfrm>
          <a:prstGeom prst="rect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с</a:t>
            </a:r>
          </a:p>
        </p:txBody>
      </p:sp>
      <p:cxnSp>
        <p:nvCxnSpPr>
          <p:cNvPr id="224" name="Прямая соединительная линия 223"/>
          <p:cNvCxnSpPr/>
          <p:nvPr/>
        </p:nvCxnSpPr>
        <p:spPr>
          <a:xfrm>
            <a:off x="10272464" y="1412776"/>
            <a:ext cx="0" cy="1330603"/>
          </a:xfrm>
          <a:prstGeom prst="line">
            <a:avLst/>
          </a:prstGeom>
          <a:ln w="38100" cap="rnd">
            <a:solidFill>
              <a:srgbClr val="225A9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Прямая соединительная линия 210"/>
          <p:cNvCxnSpPr/>
          <p:nvPr/>
        </p:nvCxnSpPr>
        <p:spPr>
          <a:xfrm flipH="1" flipV="1">
            <a:off x="5538361" y="2495312"/>
            <a:ext cx="1997344" cy="3392934"/>
          </a:xfrm>
          <a:prstGeom prst="line">
            <a:avLst/>
          </a:prstGeom>
          <a:ln w="127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Прямая соединительная линия 201"/>
          <p:cNvCxnSpPr/>
          <p:nvPr/>
        </p:nvCxnSpPr>
        <p:spPr>
          <a:xfrm>
            <a:off x="2030307" y="2256943"/>
            <a:ext cx="2892425" cy="6350"/>
          </a:xfrm>
          <a:prstGeom prst="line">
            <a:avLst/>
          </a:prstGeom>
          <a:ln w="12700">
            <a:solidFill>
              <a:srgbClr val="225A9C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Прямая соединительная линия 202"/>
          <p:cNvCxnSpPr/>
          <p:nvPr/>
        </p:nvCxnSpPr>
        <p:spPr>
          <a:xfrm>
            <a:off x="2227335" y="2725072"/>
            <a:ext cx="2862672" cy="0"/>
          </a:xfrm>
          <a:prstGeom prst="line">
            <a:avLst/>
          </a:prstGeom>
          <a:ln w="12700">
            <a:solidFill>
              <a:srgbClr val="225A9C"/>
            </a:solidFill>
            <a:headEnd type="stealth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Прямая соединительная линия 193"/>
          <p:cNvCxnSpPr/>
          <p:nvPr/>
        </p:nvCxnSpPr>
        <p:spPr>
          <a:xfrm>
            <a:off x="5672886" y="3166348"/>
            <a:ext cx="1356564" cy="2301850"/>
          </a:xfrm>
          <a:prstGeom prst="line">
            <a:avLst/>
          </a:prstGeom>
          <a:ln w="12700">
            <a:solidFill>
              <a:srgbClr val="225A9C"/>
            </a:solidFill>
            <a:headEnd type="stealth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Прямая соединительная линия 176"/>
          <p:cNvCxnSpPr/>
          <p:nvPr/>
        </p:nvCxnSpPr>
        <p:spPr>
          <a:xfrm flipH="1">
            <a:off x="1600845" y="2475475"/>
            <a:ext cx="3940994" cy="0"/>
          </a:xfrm>
          <a:prstGeom prst="line">
            <a:avLst/>
          </a:prstGeom>
          <a:ln w="127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Прямая соединительная линия 180"/>
          <p:cNvCxnSpPr/>
          <p:nvPr/>
        </p:nvCxnSpPr>
        <p:spPr>
          <a:xfrm flipH="1">
            <a:off x="3498347" y="5684304"/>
            <a:ext cx="3940474" cy="21340"/>
          </a:xfrm>
          <a:prstGeom prst="line">
            <a:avLst/>
          </a:prstGeom>
          <a:ln w="12700">
            <a:solidFill>
              <a:srgbClr val="225A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Прямая соединительная линия 185"/>
          <p:cNvCxnSpPr/>
          <p:nvPr/>
        </p:nvCxnSpPr>
        <p:spPr>
          <a:xfrm>
            <a:off x="6081534" y="2941127"/>
            <a:ext cx="1238602" cy="2098813"/>
          </a:xfrm>
          <a:prstGeom prst="line">
            <a:avLst/>
          </a:prstGeom>
          <a:ln w="12700">
            <a:solidFill>
              <a:srgbClr val="225A9C"/>
            </a:solidFill>
            <a:headEnd type="none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8</a:t>
            </a:fld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1425756" y="3224770"/>
            <a:ext cx="109998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Автор</a:t>
            </a:r>
          </a:p>
          <a:p>
            <a:pPr algn="ctr"/>
            <a:r>
              <a:rPr lang="ru-RU" sz="16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проекта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84187" y="1787965"/>
            <a:ext cx="12570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Заказчик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736268" y="1723613"/>
            <a:ext cx="16866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. Презентация проекта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368895" y="1873529"/>
            <a:ext cx="24192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. Запрос дальнейших инвестиций</a:t>
            </a:r>
          </a:p>
          <a:p>
            <a:pPr algn="ctr"/>
            <a:r>
              <a:rPr lang="ru-RU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ли предложение покупки проекта</a:t>
            </a:r>
          </a:p>
        </p:txBody>
      </p:sp>
      <p:sp>
        <p:nvSpPr>
          <p:cNvPr id="19" name="TextBox 18"/>
          <p:cNvSpPr txBox="1"/>
          <p:nvPr/>
        </p:nvSpPr>
        <p:spPr>
          <a:xfrm rot="3572800">
            <a:off x="6075972" y="3745499"/>
            <a:ext cx="17491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. Запрос на проведение</a:t>
            </a:r>
          </a:p>
          <a:p>
            <a:pPr algn="ctr"/>
            <a:r>
              <a:rPr lang="ru-RU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удита проекта</a:t>
            </a:r>
          </a:p>
        </p:txBody>
      </p:sp>
      <p:sp>
        <p:nvSpPr>
          <p:cNvPr id="21" name="TextBox 20"/>
          <p:cNvSpPr txBox="1"/>
          <p:nvPr/>
        </p:nvSpPr>
        <p:spPr>
          <a:xfrm rot="3571458">
            <a:off x="4971220" y="4064627"/>
            <a:ext cx="23214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. Результаты аудита проекта</a:t>
            </a:r>
          </a:p>
          <a:p>
            <a:pPr algn="ctr"/>
            <a:r>
              <a:rPr lang="ru-RU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 заключением об</a:t>
            </a:r>
            <a:r>
              <a:rPr lang="en-US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ффективности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06983" y="4495932"/>
            <a:ext cx="2880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Отрасль проекта</a:t>
            </a:r>
          </a:p>
          <a:p>
            <a:pPr algn="ctr"/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(напр., нефтегазовое строительство,</a:t>
            </a:r>
            <a:br>
              <a:rPr lang="en-US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ранспорт газа и т.п.)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69157" y="2752559"/>
            <a:ext cx="273452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. Одобрение или отказ в инвестициях</a:t>
            </a:r>
          </a:p>
          <a:p>
            <a:pPr algn="ctr"/>
            <a:r>
              <a:rPr lang="ru-RU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 результатам аудита проекта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597162" y="4738062"/>
            <a:ext cx="10807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ВНИИСТ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432088" y="5091481"/>
            <a:ext cx="20553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-4. Консультация с отраслью</a:t>
            </a:r>
          </a:p>
          <a:p>
            <a:pPr algn="ctr"/>
            <a:r>
              <a:rPr lang="ru-RU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екта (при необходимости)</a:t>
            </a:r>
          </a:p>
        </p:txBody>
      </p:sp>
      <p:grpSp>
        <p:nvGrpSpPr>
          <p:cNvPr id="92" name="Группа 91"/>
          <p:cNvGrpSpPr/>
          <p:nvPr/>
        </p:nvGrpSpPr>
        <p:grpSpPr>
          <a:xfrm>
            <a:off x="2086719" y="2335250"/>
            <a:ext cx="997528" cy="288032"/>
            <a:chOff x="3402673" y="3199757"/>
            <a:chExt cx="997528" cy="288032"/>
          </a:xfrm>
          <a:solidFill>
            <a:srgbClr val="225A9C"/>
          </a:solidFill>
        </p:grpSpPr>
        <p:sp>
          <p:nvSpPr>
            <p:cNvPr id="87" name="Прямоугольник 86"/>
            <p:cNvSpPr/>
            <p:nvPr/>
          </p:nvSpPr>
          <p:spPr>
            <a:xfrm rot="5400000">
              <a:off x="3706353" y="2896077"/>
              <a:ext cx="288032" cy="895391"/>
            </a:xfrm>
            <a:prstGeom prst="rect">
              <a:avLst/>
            </a:prstGeom>
            <a:grpFill/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Равнобедренный треугольник 90"/>
            <p:cNvSpPr/>
            <p:nvPr/>
          </p:nvSpPr>
          <p:spPr>
            <a:xfrm rot="5400000">
              <a:off x="4225051" y="3301689"/>
              <a:ext cx="259554" cy="90747"/>
            </a:xfrm>
            <a:prstGeom prst="triangle">
              <a:avLst/>
            </a:prstGeom>
            <a:grpFill/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6" name="Овал 75"/>
          <p:cNvSpPr/>
          <p:nvPr/>
        </p:nvSpPr>
        <p:spPr>
          <a:xfrm rot="2667176">
            <a:off x="970207" y="1791281"/>
            <a:ext cx="1296144" cy="1368152"/>
          </a:xfrm>
          <a:prstGeom prst="ellipse">
            <a:avLst/>
          </a:prstGeom>
          <a:solidFill>
            <a:schemeClr val="bg1"/>
          </a:solidFill>
          <a:ln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Шестиугольник 73"/>
          <p:cNvSpPr/>
          <p:nvPr/>
        </p:nvSpPr>
        <p:spPr>
          <a:xfrm rot="2667176">
            <a:off x="970207" y="1916674"/>
            <a:ext cx="1296144" cy="1117366"/>
          </a:xfrm>
          <a:prstGeom prst="hexagon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08" name="Группа 107"/>
          <p:cNvGrpSpPr/>
          <p:nvPr/>
        </p:nvGrpSpPr>
        <p:grpSpPr>
          <a:xfrm rot="10855706">
            <a:off x="4071984" y="2337620"/>
            <a:ext cx="997528" cy="288032"/>
            <a:chOff x="3402673" y="3199757"/>
            <a:chExt cx="997528" cy="288032"/>
          </a:xfrm>
          <a:solidFill>
            <a:srgbClr val="225A9C"/>
          </a:solidFill>
        </p:grpSpPr>
        <p:sp>
          <p:nvSpPr>
            <p:cNvPr id="116" name="Прямоугольник 115"/>
            <p:cNvSpPr/>
            <p:nvPr/>
          </p:nvSpPr>
          <p:spPr>
            <a:xfrm rot="5400000">
              <a:off x="3706353" y="2896077"/>
              <a:ext cx="288032" cy="895391"/>
            </a:xfrm>
            <a:prstGeom prst="rect">
              <a:avLst/>
            </a:prstGeom>
            <a:grpFill/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7" name="Равнобедренный треугольник 116"/>
            <p:cNvSpPr/>
            <p:nvPr/>
          </p:nvSpPr>
          <p:spPr>
            <a:xfrm rot="5400000">
              <a:off x="4225051" y="3301689"/>
              <a:ext cx="259554" cy="90747"/>
            </a:xfrm>
            <a:prstGeom prst="triangle">
              <a:avLst/>
            </a:prstGeom>
            <a:grpFill/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9" name="Группа 108"/>
          <p:cNvGrpSpPr/>
          <p:nvPr/>
        </p:nvGrpSpPr>
        <p:grpSpPr>
          <a:xfrm rot="14367048">
            <a:off x="6555404" y="4911076"/>
            <a:ext cx="997528" cy="288032"/>
            <a:chOff x="3402673" y="3199757"/>
            <a:chExt cx="997528" cy="288032"/>
          </a:xfrm>
          <a:solidFill>
            <a:srgbClr val="225A9C"/>
          </a:solidFill>
        </p:grpSpPr>
        <p:sp>
          <p:nvSpPr>
            <p:cNvPr id="114" name="Прямоугольник 113"/>
            <p:cNvSpPr/>
            <p:nvPr/>
          </p:nvSpPr>
          <p:spPr>
            <a:xfrm rot="5400000">
              <a:off x="3706353" y="2896077"/>
              <a:ext cx="288032" cy="895391"/>
            </a:xfrm>
            <a:prstGeom prst="rect">
              <a:avLst/>
            </a:prstGeom>
            <a:grpFill/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5" name="Равнобедренный треугольник 114"/>
            <p:cNvSpPr/>
            <p:nvPr/>
          </p:nvSpPr>
          <p:spPr>
            <a:xfrm rot="5400000">
              <a:off x="4225051" y="3301689"/>
              <a:ext cx="259554" cy="90747"/>
            </a:xfrm>
            <a:prstGeom prst="triangle">
              <a:avLst/>
            </a:prstGeom>
            <a:grpFill/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29" name="Группа 128"/>
          <p:cNvGrpSpPr/>
          <p:nvPr/>
        </p:nvGrpSpPr>
        <p:grpSpPr>
          <a:xfrm rot="3604247">
            <a:off x="5547780" y="3205148"/>
            <a:ext cx="997528" cy="288032"/>
            <a:chOff x="3402673" y="3199757"/>
            <a:chExt cx="997528" cy="288032"/>
          </a:xfrm>
          <a:solidFill>
            <a:srgbClr val="225A9C"/>
          </a:solidFill>
        </p:grpSpPr>
        <p:sp>
          <p:nvSpPr>
            <p:cNvPr id="137" name="Прямоугольник 136"/>
            <p:cNvSpPr/>
            <p:nvPr/>
          </p:nvSpPr>
          <p:spPr>
            <a:xfrm rot="5400000">
              <a:off x="3706353" y="2896077"/>
              <a:ext cx="288032" cy="895391"/>
            </a:xfrm>
            <a:prstGeom prst="rect">
              <a:avLst/>
            </a:prstGeom>
            <a:grpFill/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8" name="Равнобедренный треугольник 137"/>
            <p:cNvSpPr/>
            <p:nvPr/>
          </p:nvSpPr>
          <p:spPr>
            <a:xfrm rot="5400000">
              <a:off x="4225051" y="3301689"/>
              <a:ext cx="259554" cy="90747"/>
            </a:xfrm>
            <a:prstGeom prst="triangle">
              <a:avLst/>
            </a:prstGeom>
            <a:grpFill/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11" name="Овал 110"/>
          <p:cNvSpPr/>
          <p:nvPr/>
        </p:nvSpPr>
        <p:spPr>
          <a:xfrm rot="12857102">
            <a:off x="4890287" y="1797963"/>
            <a:ext cx="1296144" cy="1368152"/>
          </a:xfrm>
          <a:prstGeom prst="ellipse">
            <a:avLst/>
          </a:prstGeom>
          <a:solidFill>
            <a:schemeClr val="bg1"/>
          </a:solidFill>
          <a:ln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Шестиугольник 111"/>
          <p:cNvSpPr/>
          <p:nvPr/>
        </p:nvSpPr>
        <p:spPr>
          <a:xfrm rot="12857102">
            <a:off x="4890287" y="1923356"/>
            <a:ext cx="1296144" cy="1117366"/>
          </a:xfrm>
          <a:prstGeom prst="hexagon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30" name="Группа 129"/>
          <p:cNvGrpSpPr/>
          <p:nvPr/>
        </p:nvGrpSpPr>
        <p:grpSpPr>
          <a:xfrm rot="10800000">
            <a:off x="5973003" y="5550167"/>
            <a:ext cx="997528" cy="288032"/>
            <a:chOff x="3402673" y="3199757"/>
            <a:chExt cx="997528" cy="288032"/>
          </a:xfrm>
          <a:solidFill>
            <a:srgbClr val="225A9C"/>
          </a:solidFill>
        </p:grpSpPr>
        <p:sp>
          <p:nvSpPr>
            <p:cNvPr id="135" name="Прямоугольник 134"/>
            <p:cNvSpPr/>
            <p:nvPr/>
          </p:nvSpPr>
          <p:spPr>
            <a:xfrm rot="5400000">
              <a:off x="3706353" y="2896077"/>
              <a:ext cx="288032" cy="895391"/>
            </a:xfrm>
            <a:prstGeom prst="rect">
              <a:avLst/>
            </a:prstGeom>
            <a:grpFill/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6" name="Равнобедренный треугольник 135"/>
            <p:cNvSpPr/>
            <p:nvPr/>
          </p:nvSpPr>
          <p:spPr>
            <a:xfrm rot="5400000">
              <a:off x="4225051" y="3301689"/>
              <a:ext cx="259554" cy="90747"/>
            </a:xfrm>
            <a:prstGeom prst="triangle">
              <a:avLst/>
            </a:prstGeom>
            <a:grpFill/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2" name="Овал 131"/>
          <p:cNvSpPr/>
          <p:nvPr/>
        </p:nvSpPr>
        <p:spPr>
          <a:xfrm rot="8275509">
            <a:off x="6782139" y="5023233"/>
            <a:ext cx="1296144" cy="1368152"/>
          </a:xfrm>
          <a:prstGeom prst="ellipse">
            <a:avLst/>
          </a:prstGeom>
          <a:solidFill>
            <a:schemeClr val="bg1"/>
          </a:solidFill>
          <a:ln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Шестиугольник 132"/>
          <p:cNvSpPr/>
          <p:nvPr/>
        </p:nvSpPr>
        <p:spPr>
          <a:xfrm rot="8275509">
            <a:off x="6782139" y="5148626"/>
            <a:ext cx="1296144" cy="1117366"/>
          </a:xfrm>
          <a:prstGeom prst="hexagon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69" name="Группа 168"/>
          <p:cNvGrpSpPr/>
          <p:nvPr/>
        </p:nvGrpSpPr>
        <p:grpSpPr>
          <a:xfrm>
            <a:off x="3967850" y="5558339"/>
            <a:ext cx="997528" cy="288032"/>
            <a:chOff x="3402673" y="3199757"/>
            <a:chExt cx="997528" cy="288032"/>
          </a:xfrm>
          <a:solidFill>
            <a:srgbClr val="225A9C"/>
          </a:solidFill>
        </p:grpSpPr>
        <p:sp>
          <p:nvSpPr>
            <p:cNvPr id="174" name="Прямоугольник 173"/>
            <p:cNvSpPr/>
            <p:nvPr/>
          </p:nvSpPr>
          <p:spPr>
            <a:xfrm rot="5400000">
              <a:off x="3706353" y="2896077"/>
              <a:ext cx="288032" cy="895391"/>
            </a:xfrm>
            <a:prstGeom prst="rect">
              <a:avLst/>
            </a:prstGeom>
            <a:grpFill/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5" name="Равнобедренный треугольник 174"/>
            <p:cNvSpPr/>
            <p:nvPr/>
          </p:nvSpPr>
          <p:spPr>
            <a:xfrm rot="5400000">
              <a:off x="4225051" y="3301689"/>
              <a:ext cx="259554" cy="90747"/>
            </a:xfrm>
            <a:prstGeom prst="triangle">
              <a:avLst/>
            </a:prstGeom>
            <a:grpFill/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71" name="Овал 170"/>
          <p:cNvSpPr/>
          <p:nvPr/>
        </p:nvSpPr>
        <p:spPr>
          <a:xfrm rot="11358299">
            <a:off x="2851338" y="5014370"/>
            <a:ext cx="1296144" cy="1368152"/>
          </a:xfrm>
          <a:prstGeom prst="ellipse">
            <a:avLst/>
          </a:prstGeom>
          <a:solidFill>
            <a:schemeClr val="bg1"/>
          </a:solidFill>
          <a:ln>
            <a:solidFill>
              <a:srgbClr val="225A9C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2" name="Шестиугольник 171"/>
          <p:cNvSpPr/>
          <p:nvPr/>
        </p:nvSpPr>
        <p:spPr>
          <a:xfrm rot="11358299">
            <a:off x="2851338" y="5139763"/>
            <a:ext cx="1296144" cy="1117366"/>
          </a:xfrm>
          <a:prstGeom prst="hexagon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3" name="Овал 172"/>
          <p:cNvSpPr/>
          <p:nvPr/>
        </p:nvSpPr>
        <p:spPr>
          <a:xfrm rot="11358299">
            <a:off x="3037284" y="5230684"/>
            <a:ext cx="928376" cy="928376"/>
          </a:xfrm>
          <a:prstGeom prst="ellipse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1" name="Прямоугольник 190"/>
          <p:cNvSpPr/>
          <p:nvPr/>
        </p:nvSpPr>
        <p:spPr>
          <a:xfrm>
            <a:off x="983431" y="722812"/>
            <a:ext cx="562333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аправления </a:t>
            </a:r>
            <a:r>
              <a:rPr lang="ru-RU" sz="2800" b="1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деятельности</a:t>
            </a:r>
          </a:p>
        </p:txBody>
      </p:sp>
      <p:pic>
        <p:nvPicPr>
          <p:cNvPr id="217" name="Picture 8" descr="https://uchebnik.mos.ru/system_2/game_apps/icons/000/147/599/original/engineering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128" b="100000" l="7438" r="94215">
                        <a14:foregroundMark x1="66942" y1="37234" x2="66942" y2="37234"/>
                        <a14:foregroundMark x1="67769" y1="80851" x2="67769" y2="80851"/>
                        <a14:foregroundMark x1="69421" y1="88298" x2="69421" y2="88298"/>
                        <a14:foregroundMark x1="63636" y1="89362" x2="63636" y2="89362"/>
                        <a14:foregroundMark x1="60331" y1="91489" x2="60331" y2="914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076" t="6478" r="6363" b="3965"/>
          <a:stretch/>
        </p:blipFill>
        <p:spPr bwMode="auto">
          <a:xfrm>
            <a:off x="3111683" y="5372030"/>
            <a:ext cx="773323" cy="624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Группа 2"/>
          <p:cNvGrpSpPr/>
          <p:nvPr/>
        </p:nvGrpSpPr>
        <p:grpSpPr>
          <a:xfrm>
            <a:off x="8761933" y="1853335"/>
            <a:ext cx="3024336" cy="4104456"/>
            <a:chOff x="8761933" y="1853335"/>
            <a:chExt cx="3024336" cy="4104456"/>
          </a:xfrm>
        </p:grpSpPr>
        <p:sp>
          <p:nvSpPr>
            <p:cNvPr id="227" name="Прямоугольник 226"/>
            <p:cNvSpPr/>
            <p:nvPr/>
          </p:nvSpPr>
          <p:spPr>
            <a:xfrm>
              <a:off x="8761933" y="1853335"/>
              <a:ext cx="3024336" cy="410445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с</a:t>
              </a:r>
            </a:p>
          </p:txBody>
        </p:sp>
        <p:sp>
          <p:nvSpPr>
            <p:cNvPr id="228" name="Прямоугольник 227"/>
            <p:cNvSpPr/>
            <p:nvPr/>
          </p:nvSpPr>
          <p:spPr>
            <a:xfrm>
              <a:off x="8853727" y="1931021"/>
              <a:ext cx="2852675" cy="1195581"/>
            </a:xfrm>
            <a:prstGeom prst="rect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Выполнение технико-экономического анализа эффективности проектов</a:t>
              </a:r>
            </a:p>
          </p:txBody>
        </p:sp>
        <p:sp>
          <p:nvSpPr>
            <p:cNvPr id="229" name="TextBox 228"/>
            <p:cNvSpPr txBox="1"/>
            <p:nvPr/>
          </p:nvSpPr>
          <p:spPr>
            <a:xfrm>
              <a:off x="8792533" y="3423610"/>
              <a:ext cx="2993735" cy="2308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Для выявления наиболее экономически эффективных проектных решений Центр выполняет работы по технико-экономическому обоснованию проекта (продукции, технологий, оборудования) с рассмотрением различных технических, технологических, финансовых и иных вариантов с учетом оценки экономических рисков реализации проекта по каждому варианту</a:t>
              </a:r>
            </a:p>
          </p:txBody>
        </p:sp>
      </p:grpSp>
      <p:cxnSp>
        <p:nvCxnSpPr>
          <p:cNvPr id="62" name="Прямая соединительная линия 61"/>
          <p:cNvCxnSpPr/>
          <p:nvPr/>
        </p:nvCxnSpPr>
        <p:spPr>
          <a:xfrm>
            <a:off x="495300" y="1412776"/>
            <a:ext cx="11664950" cy="0"/>
          </a:xfrm>
          <a:prstGeom prst="line">
            <a:avLst/>
          </a:prstGeom>
          <a:ln w="76200" cap="sq">
            <a:solidFill>
              <a:srgbClr val="225A9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Овал 62"/>
          <p:cNvSpPr/>
          <p:nvPr/>
        </p:nvSpPr>
        <p:spPr>
          <a:xfrm rot="11358299">
            <a:off x="6972217" y="5241456"/>
            <a:ext cx="928376" cy="928376"/>
          </a:xfrm>
          <a:prstGeom prst="ellipse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18" name="Picture 10" descr="https://image.freepik.com/free-photo/3d-white-people-scientific_168450-3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4651" r="100000">
                        <a14:foregroundMark x1="79070" y1="46729" x2="79070" y2="46729"/>
                        <a14:foregroundMark x1="82558" y1="66355" x2="82558" y2="66355"/>
                        <a14:foregroundMark x1="87209" y1="81308" x2="87209" y2="81308"/>
                        <a14:foregroundMark x1="80233" y1="60748" x2="80233" y2="60748"/>
                        <a14:foregroundMark x1="72093" y1="52336" x2="72093" y2="52336"/>
                        <a14:foregroundMark x1="87209" y1="30841" x2="87209" y2="30841"/>
                        <a14:foregroundMark x1="84884" y1="13084" x2="84884" y2="13084"/>
                        <a14:foregroundMark x1="76744" y1="11215" x2="76744" y2="11215"/>
                        <a14:foregroundMark x1="68605" y1="13084" x2="68605" y2="13084"/>
                        <a14:foregroundMark x1="75581" y1="7477" x2="75581" y2="7477"/>
                        <a14:foregroundMark x1="62791" y1="13084" x2="62791" y2="13084"/>
                        <a14:foregroundMark x1="77907" y1="6542" x2="77907" y2="6542"/>
                        <a14:foregroundMark x1="67442" y1="6542" x2="67442" y2="6542"/>
                        <a14:backgroundMark x1="83721" y1="1869" x2="83721" y2="1869"/>
                        <a14:backgroundMark x1="68605" y1="2804" x2="68605" y2="280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2413" y="5319277"/>
            <a:ext cx="618582" cy="772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Овал 63"/>
          <p:cNvSpPr/>
          <p:nvPr/>
        </p:nvSpPr>
        <p:spPr>
          <a:xfrm rot="11358299">
            <a:off x="1152781" y="2006811"/>
            <a:ext cx="928376" cy="928376"/>
          </a:xfrm>
          <a:prstGeom prst="ellipse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Овал 64"/>
          <p:cNvSpPr/>
          <p:nvPr/>
        </p:nvSpPr>
        <p:spPr>
          <a:xfrm rot="11358299">
            <a:off x="5070374" y="2006811"/>
            <a:ext cx="928376" cy="928376"/>
          </a:xfrm>
          <a:prstGeom prst="ellipse">
            <a:avLst/>
          </a:prstGeom>
          <a:solidFill>
            <a:schemeClr val="bg1"/>
          </a:solidFill>
          <a:ln w="38100"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16" name="Picture 4" descr="http://myagkieokna64.ru/wp-content/uploads/2020/01/%D0%9C%D0%BE%D0%BD%D1%82%D0%B0%D0%B6-%D0%9C%D0%9E-768x76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89" b="96444" l="2222" r="94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263703" y="2118923"/>
            <a:ext cx="718862" cy="718862"/>
          </a:xfrm>
          <a:prstGeom prst="rect">
            <a:avLst/>
          </a:prstGeom>
          <a:noFill/>
        </p:spPr>
      </p:pic>
      <p:pic>
        <p:nvPicPr>
          <p:cNvPr id="219" name="Picture 12" descr="33 3d Small Person With A Golden Dollar Sign Stock Photos, Pictures &amp;  Royalty-Free Images - iStock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10000" r="9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" b="2695"/>
          <a:stretch/>
        </p:blipFill>
        <p:spPr bwMode="auto">
          <a:xfrm>
            <a:off x="5101351" y="2083459"/>
            <a:ext cx="838986" cy="735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09118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469900" y="1417805"/>
            <a:ext cx="9783637" cy="5445224"/>
          </a:xfrm>
          <a:prstGeom prst="rect">
            <a:avLst/>
          </a:prstGeom>
          <a:solidFill>
            <a:srgbClr val="225A9C"/>
          </a:solidFill>
          <a:ln>
            <a:solidFill>
              <a:srgbClr val="225A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17799-9F31-4B86-AAB5-4E5A709D2EC9}" type="slidenum">
              <a:rPr lang="ru-RU" smtClean="0"/>
              <a:t>9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983431" y="722812"/>
            <a:ext cx="562333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Направления </a:t>
            </a:r>
            <a:r>
              <a:rPr lang="ru-RU" sz="2800" b="1" dirty="0">
                <a:solidFill>
                  <a:srgbClr val="225A9C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деятельности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854721" y="1759943"/>
            <a:ext cx="3415647" cy="1272545"/>
            <a:chOff x="684325" y="1593322"/>
            <a:chExt cx="3179427" cy="1719681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695400" y="1593322"/>
              <a:ext cx="3168352" cy="171968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Равнобедренный треугольник 17"/>
            <p:cNvSpPr/>
            <p:nvPr/>
          </p:nvSpPr>
          <p:spPr>
            <a:xfrm rot="16200000" flipV="1">
              <a:off x="432284" y="2399325"/>
              <a:ext cx="627236" cy="123153"/>
            </a:xfrm>
            <a:prstGeom prst="triangle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5" name="Прямоугольник 64"/>
          <p:cNvSpPr/>
          <p:nvPr/>
        </p:nvSpPr>
        <p:spPr>
          <a:xfrm>
            <a:off x="1078819" y="1916450"/>
            <a:ext cx="301705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верка наличия документов о качестве на применяемые материалы, изделия и оборудование</a:t>
            </a:r>
            <a:endParaRPr lang="ru-RU" sz="1400" dirty="0"/>
          </a:p>
        </p:txBody>
      </p:sp>
      <p:grpSp>
        <p:nvGrpSpPr>
          <p:cNvPr id="38" name="Группа 37"/>
          <p:cNvGrpSpPr/>
          <p:nvPr/>
        </p:nvGrpSpPr>
        <p:grpSpPr>
          <a:xfrm>
            <a:off x="4808267" y="1759943"/>
            <a:ext cx="3421408" cy="1272545"/>
            <a:chOff x="678962" y="1593322"/>
            <a:chExt cx="3184790" cy="1719681"/>
          </a:xfrm>
        </p:grpSpPr>
        <p:sp>
          <p:nvSpPr>
            <p:cNvPr id="39" name="Скругленный прямоугольник 38"/>
            <p:cNvSpPr/>
            <p:nvPr/>
          </p:nvSpPr>
          <p:spPr>
            <a:xfrm>
              <a:off x="695400" y="1593322"/>
              <a:ext cx="3168352" cy="171968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Равнобедренный треугольник 39"/>
            <p:cNvSpPr/>
            <p:nvPr/>
          </p:nvSpPr>
          <p:spPr>
            <a:xfrm rot="16200000" flipV="1">
              <a:off x="426921" y="2387922"/>
              <a:ext cx="627236" cy="123153"/>
            </a:xfrm>
            <a:prstGeom prst="triangle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6" name="Прямоугольник 65"/>
          <p:cNvSpPr/>
          <p:nvPr/>
        </p:nvSpPr>
        <p:spPr>
          <a:xfrm>
            <a:off x="4788880" y="1921460"/>
            <a:ext cx="341160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дзор за соблюдением правил складирования и хранения применяемых материалов, изделий и оборудования</a:t>
            </a:r>
            <a:endParaRPr lang="ru-RU" sz="1400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8761933" y="1853335"/>
            <a:ext cx="3024336" cy="4104456"/>
            <a:chOff x="8761933" y="1853335"/>
            <a:chExt cx="3024336" cy="410445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761933" y="1853335"/>
              <a:ext cx="3024336" cy="410445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с</a:t>
              </a: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8853727" y="1931021"/>
              <a:ext cx="2852675" cy="1195581"/>
            </a:xfrm>
            <a:prstGeom prst="rect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Аудит заводов-изготовителей для строительства объектов ТЭК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8777232" y="3443729"/>
              <a:ext cx="299373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Продукция</a:t>
              </a:r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>
              <a:off x="8853727" y="4077072"/>
              <a:ext cx="2852675" cy="0"/>
            </a:xfrm>
            <a:prstGeom prst="line">
              <a:avLst/>
            </a:prstGeom>
            <a:ln w="19050">
              <a:solidFill>
                <a:srgbClr val="225A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8853727" y="4975433"/>
              <a:ext cx="2852675" cy="0"/>
            </a:xfrm>
            <a:prstGeom prst="line">
              <a:avLst/>
            </a:prstGeom>
            <a:ln w="19050">
              <a:solidFill>
                <a:srgbClr val="225A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Прямоугольник 2"/>
            <p:cNvSpPr/>
            <p:nvPr/>
          </p:nvSpPr>
          <p:spPr>
            <a:xfrm>
              <a:off x="9816281" y="4383151"/>
              <a:ext cx="91563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Сырье</a:t>
              </a:r>
            </a:p>
          </p:txBody>
        </p:sp>
        <p:sp>
          <p:nvSpPr>
            <p:cNvPr id="4" name="Прямоугольник 3"/>
            <p:cNvSpPr/>
            <p:nvPr/>
          </p:nvSpPr>
          <p:spPr>
            <a:xfrm>
              <a:off x="9351636" y="5245961"/>
              <a:ext cx="184492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борудование</a:t>
              </a:r>
            </a:p>
          </p:txBody>
        </p:sp>
      </p:grpSp>
      <p:grpSp>
        <p:nvGrpSpPr>
          <p:cNvPr id="56" name="Группа 55"/>
          <p:cNvGrpSpPr/>
          <p:nvPr/>
        </p:nvGrpSpPr>
        <p:grpSpPr>
          <a:xfrm>
            <a:off x="4788880" y="5178276"/>
            <a:ext cx="3433071" cy="1272545"/>
            <a:chOff x="668105" y="1593322"/>
            <a:chExt cx="3195647" cy="1719681"/>
          </a:xfrm>
        </p:grpSpPr>
        <p:sp>
          <p:nvSpPr>
            <p:cNvPr id="57" name="Скругленный прямоугольник 56"/>
            <p:cNvSpPr/>
            <p:nvPr/>
          </p:nvSpPr>
          <p:spPr>
            <a:xfrm>
              <a:off x="695400" y="1593322"/>
              <a:ext cx="3168352" cy="171968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Равнобедренный треугольник 57"/>
            <p:cNvSpPr/>
            <p:nvPr/>
          </p:nvSpPr>
          <p:spPr>
            <a:xfrm rot="16200000" flipV="1">
              <a:off x="416064" y="2391585"/>
              <a:ext cx="627236" cy="123153"/>
            </a:xfrm>
            <a:prstGeom prst="triangle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0" name="Прямоугольник 69"/>
          <p:cNvSpPr/>
          <p:nvPr/>
        </p:nvSpPr>
        <p:spPr>
          <a:xfrm>
            <a:off x="4810348" y="5421585"/>
            <a:ext cx="341160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дзор за соблюдением правил упаковки и отгрузки готовой продукции</a:t>
            </a:r>
            <a:endParaRPr lang="ru-RU" sz="1400" dirty="0"/>
          </a:p>
        </p:txBody>
      </p:sp>
      <p:grpSp>
        <p:nvGrpSpPr>
          <p:cNvPr id="53" name="Группа 52"/>
          <p:cNvGrpSpPr/>
          <p:nvPr/>
        </p:nvGrpSpPr>
        <p:grpSpPr>
          <a:xfrm>
            <a:off x="866618" y="5165830"/>
            <a:ext cx="3403749" cy="1284991"/>
            <a:chOff x="695400" y="1576503"/>
            <a:chExt cx="3168352" cy="1736500"/>
          </a:xfrm>
        </p:grpSpPr>
        <p:sp>
          <p:nvSpPr>
            <p:cNvPr id="54" name="Скругленный прямоугольник 53"/>
            <p:cNvSpPr/>
            <p:nvPr/>
          </p:nvSpPr>
          <p:spPr>
            <a:xfrm>
              <a:off x="695400" y="1593322"/>
              <a:ext cx="3168352" cy="171968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Равнобедренный треугольник 54"/>
            <p:cNvSpPr/>
            <p:nvPr/>
          </p:nvSpPr>
          <p:spPr>
            <a:xfrm flipV="1">
              <a:off x="2059337" y="1576503"/>
              <a:ext cx="432048" cy="178790"/>
            </a:xfrm>
            <a:prstGeom prst="triangle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9" name="Прямоугольник 68"/>
          <p:cNvSpPr/>
          <p:nvPr/>
        </p:nvSpPr>
        <p:spPr>
          <a:xfrm>
            <a:off x="812863" y="5337493"/>
            <a:ext cx="341160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ключительная оценка соответствия готовой продукции требованиям нормативной документации</a:t>
            </a:r>
            <a:endParaRPr lang="ru-RU" sz="1400" dirty="0"/>
          </a:p>
        </p:txBody>
      </p:sp>
      <p:grpSp>
        <p:nvGrpSpPr>
          <p:cNvPr id="62" name="Группа 61"/>
          <p:cNvGrpSpPr/>
          <p:nvPr/>
        </p:nvGrpSpPr>
        <p:grpSpPr>
          <a:xfrm>
            <a:off x="4818202" y="3453487"/>
            <a:ext cx="3403749" cy="1272545"/>
            <a:chOff x="695400" y="1593322"/>
            <a:chExt cx="3168352" cy="1719681"/>
          </a:xfrm>
        </p:grpSpPr>
        <p:sp>
          <p:nvSpPr>
            <p:cNvPr id="63" name="Скругленный прямоугольник 62"/>
            <p:cNvSpPr/>
            <p:nvPr/>
          </p:nvSpPr>
          <p:spPr>
            <a:xfrm>
              <a:off x="695400" y="1593322"/>
              <a:ext cx="3168352" cy="171968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4" name="Равнобедренный треугольник 63"/>
            <p:cNvSpPr/>
            <p:nvPr/>
          </p:nvSpPr>
          <p:spPr>
            <a:xfrm flipV="1">
              <a:off x="2070741" y="1594207"/>
              <a:ext cx="432048" cy="178790"/>
            </a:xfrm>
            <a:prstGeom prst="triangle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8" name="Прямоугольник 67"/>
          <p:cNvSpPr/>
          <p:nvPr/>
        </p:nvSpPr>
        <p:spPr>
          <a:xfrm>
            <a:off x="4818202" y="3792506"/>
            <a:ext cx="340374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дзор за устранением дефектов продукции, выявленных в процессе ее производства</a:t>
            </a:r>
            <a:endParaRPr lang="ru-RU" sz="1400" dirty="0"/>
          </a:p>
        </p:txBody>
      </p:sp>
      <p:grpSp>
        <p:nvGrpSpPr>
          <p:cNvPr id="59" name="Группа 58"/>
          <p:cNvGrpSpPr/>
          <p:nvPr/>
        </p:nvGrpSpPr>
        <p:grpSpPr>
          <a:xfrm>
            <a:off x="866618" y="3453487"/>
            <a:ext cx="3411204" cy="1272545"/>
            <a:chOff x="695400" y="1593322"/>
            <a:chExt cx="3175292" cy="1719681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695400" y="1593322"/>
              <a:ext cx="3168352" cy="171968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" name="Равнобедренный треугольник 60"/>
            <p:cNvSpPr/>
            <p:nvPr/>
          </p:nvSpPr>
          <p:spPr>
            <a:xfrm rot="5400000" flipV="1">
              <a:off x="3495498" y="2401874"/>
              <a:ext cx="627236" cy="123153"/>
            </a:xfrm>
            <a:prstGeom prst="triangle">
              <a:avLst/>
            </a:prstGeom>
            <a:solidFill>
              <a:srgbClr val="225A9C"/>
            </a:solidFill>
            <a:ln>
              <a:solidFill>
                <a:srgbClr val="225A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7" name="Прямоугольник 66"/>
          <p:cNvSpPr/>
          <p:nvPr/>
        </p:nvSpPr>
        <p:spPr>
          <a:xfrm>
            <a:off x="866618" y="3877296"/>
            <a:ext cx="340374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дзор за выполнением операционного контроля</a:t>
            </a:r>
            <a:endParaRPr lang="ru-RU" sz="1400" dirty="0"/>
          </a:p>
        </p:txBody>
      </p:sp>
      <p:cxnSp>
        <p:nvCxnSpPr>
          <p:cNvPr id="73" name="Прямая соединительная линия 72"/>
          <p:cNvCxnSpPr>
            <a:endCxn id="18" idx="0"/>
          </p:cNvCxnSpPr>
          <p:nvPr/>
        </p:nvCxnSpPr>
        <p:spPr>
          <a:xfrm>
            <a:off x="449902" y="2401942"/>
            <a:ext cx="537123" cy="1"/>
          </a:xfrm>
          <a:prstGeom prst="line">
            <a:avLst/>
          </a:prstGeom>
          <a:ln>
            <a:solidFill>
              <a:srgbClr val="F6F9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>
            <a:stCxn id="17" idx="3"/>
            <a:endCxn id="40" idx="0"/>
          </p:cNvCxnSpPr>
          <p:nvPr/>
        </p:nvCxnSpPr>
        <p:spPr>
          <a:xfrm flipV="1">
            <a:off x="4270368" y="2393505"/>
            <a:ext cx="670203" cy="2711"/>
          </a:xfrm>
          <a:prstGeom prst="line">
            <a:avLst/>
          </a:prstGeom>
          <a:ln>
            <a:solidFill>
              <a:srgbClr val="F6F9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>
            <a:stCxn id="61" idx="0"/>
            <a:endCxn id="63" idx="1"/>
          </p:cNvCxnSpPr>
          <p:nvPr/>
        </p:nvCxnSpPr>
        <p:spPr>
          <a:xfrm flipV="1">
            <a:off x="4145520" y="4089760"/>
            <a:ext cx="672682" cy="7613"/>
          </a:xfrm>
          <a:prstGeom prst="line">
            <a:avLst/>
          </a:prstGeom>
          <a:ln>
            <a:solidFill>
              <a:srgbClr val="F6F9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>
            <a:stCxn id="54" idx="3"/>
            <a:endCxn id="58" idx="0"/>
          </p:cNvCxnSpPr>
          <p:nvPr/>
        </p:nvCxnSpPr>
        <p:spPr>
          <a:xfrm flipV="1">
            <a:off x="4270367" y="5814548"/>
            <a:ext cx="650817" cy="1"/>
          </a:xfrm>
          <a:prstGeom prst="line">
            <a:avLst/>
          </a:prstGeom>
          <a:ln>
            <a:solidFill>
              <a:srgbClr val="F6F9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>
            <a:stCxn id="55" idx="0"/>
            <a:endCxn id="60" idx="2"/>
          </p:cNvCxnSpPr>
          <p:nvPr/>
        </p:nvCxnSpPr>
        <p:spPr>
          <a:xfrm flipV="1">
            <a:off x="2563965" y="4726032"/>
            <a:ext cx="4527" cy="572101"/>
          </a:xfrm>
          <a:prstGeom prst="line">
            <a:avLst/>
          </a:prstGeom>
          <a:ln>
            <a:solidFill>
              <a:srgbClr val="F6F9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>
            <a:stCxn id="64" idx="0"/>
            <a:endCxn id="39" idx="2"/>
          </p:cNvCxnSpPr>
          <p:nvPr/>
        </p:nvCxnSpPr>
        <p:spPr>
          <a:xfrm flipV="1">
            <a:off x="6527800" y="3032488"/>
            <a:ext cx="1" cy="553957"/>
          </a:xfrm>
          <a:prstGeom prst="line">
            <a:avLst/>
          </a:prstGeom>
          <a:ln>
            <a:solidFill>
              <a:srgbClr val="F6F9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>
            <a:stCxn id="57" idx="3"/>
          </p:cNvCxnSpPr>
          <p:nvPr/>
        </p:nvCxnSpPr>
        <p:spPr>
          <a:xfrm>
            <a:off x="8221951" y="5814549"/>
            <a:ext cx="575448" cy="0"/>
          </a:xfrm>
          <a:prstGeom prst="line">
            <a:avLst/>
          </a:prstGeom>
          <a:ln>
            <a:solidFill>
              <a:srgbClr val="F6F9F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/>
        </p:nvCxnSpPr>
        <p:spPr>
          <a:xfrm>
            <a:off x="502444" y="1412776"/>
            <a:ext cx="11657806" cy="0"/>
          </a:xfrm>
          <a:prstGeom prst="line">
            <a:avLst/>
          </a:prstGeom>
          <a:ln w="76200" cap="sq">
            <a:solidFill>
              <a:srgbClr val="225A9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0294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91</TotalTime>
  <Words>2755</Words>
  <Application>Microsoft Office PowerPoint</Application>
  <PresentationFormat>Широкоэкранный</PresentationFormat>
  <Paragraphs>442</Paragraphs>
  <Slides>19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1" baseType="lpstr">
      <vt:lpstr>Arial</vt:lpstr>
      <vt:lpstr>Calibri</vt:lpstr>
      <vt:lpstr>Calibri Light</vt:lpstr>
      <vt:lpstr>Open Sans</vt:lpstr>
      <vt:lpstr>Open Sans Extrabold</vt:lpstr>
      <vt:lpstr>Open Sans Light</vt:lpstr>
      <vt:lpstr>Open Sans Semibold</vt:lpstr>
      <vt:lpstr>Segoe UI</vt:lpstr>
      <vt:lpstr>Tahoma</vt:lpstr>
      <vt:lpstr>Times New Roman</vt:lpstr>
      <vt:lpstr>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К ВНИИСТ</dc:title>
  <dc:creator>Александр Шепилев</dc:creator>
  <cp:lastModifiedBy>Кретов Дмитрий Александрович</cp:lastModifiedBy>
  <cp:revision>307</cp:revision>
  <dcterms:created xsi:type="dcterms:W3CDTF">2021-08-24T06:07:12Z</dcterms:created>
  <dcterms:modified xsi:type="dcterms:W3CDTF">2024-01-16T08:43:44Z</dcterms:modified>
</cp:coreProperties>
</file>